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272" r:id="rId2"/>
    <p:sldId id="323" r:id="rId3"/>
    <p:sldId id="316" r:id="rId4"/>
    <p:sldId id="317" r:id="rId5"/>
    <p:sldId id="324" r:id="rId6"/>
    <p:sldId id="318" r:id="rId7"/>
    <p:sldId id="319" r:id="rId8"/>
    <p:sldId id="320" r:id="rId9"/>
    <p:sldId id="325" r:id="rId10"/>
    <p:sldId id="321" r:id="rId11"/>
    <p:sldId id="322" r:id="rId12"/>
    <p:sldId id="326" r:id="rId13"/>
    <p:sldId id="327" r:id="rId14"/>
    <p:sldId id="328" r:id="rId15"/>
    <p:sldId id="329" r:id="rId16"/>
    <p:sldId id="330" r:id="rId17"/>
    <p:sldId id="333" r:id="rId18"/>
    <p:sldId id="331" r:id="rId19"/>
    <p:sldId id="332" r:id="rId20"/>
    <p:sldId id="335" r:id="rId21"/>
    <p:sldId id="334" r:id="rId22"/>
  </p:sldIdLst>
  <p:sldSz cx="9906000" cy="6858000" type="A4"/>
  <p:notesSz cx="6807200" cy="99393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699"/>
    <a:srgbClr val="000066"/>
    <a:srgbClr val="4F8ABE"/>
    <a:srgbClr val="D6E9F2"/>
    <a:srgbClr val="0052BE"/>
    <a:srgbClr val="19396B"/>
    <a:srgbClr val="D5938A"/>
    <a:srgbClr val="7E8083"/>
    <a:srgbClr val="8BAEA1"/>
    <a:srgbClr val="F4E2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2487" autoAdjust="0"/>
    <p:restoredTop sz="94660"/>
  </p:normalViewPr>
  <p:slideViewPr>
    <p:cSldViewPr>
      <p:cViewPr varScale="1">
        <p:scale>
          <a:sx n="122" d="100"/>
          <a:sy n="122" d="100"/>
        </p:scale>
        <p:origin x="-1008" y="-84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>
        <p:scale>
          <a:sx n="100" d="100"/>
          <a:sy n="100" d="100"/>
        </p:scale>
        <p:origin x="-1890" y="1158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354909-2177-47AD-BC48-72B423E91588}" type="datetimeFigureOut">
              <a:rPr lang="ko-KR" altLang="en-US" smtClean="0"/>
              <a:pPr/>
              <a:t>2017-04-14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55C92C-942C-42C0-B36B-87713B45D2A6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35564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A69733-B564-4A77-9952-5C49B2AAE15F}" type="datetimeFigureOut">
              <a:rPr lang="ko-KR" altLang="en-US" smtClean="0"/>
              <a:pPr/>
              <a:t>2017-04-14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162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720" y="4721186"/>
            <a:ext cx="5445760" cy="4472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365548-BF37-4977-BC89-219863EFC6CA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543088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그림 21" descr="Untitled-1.png"/>
          <p:cNvPicPr>
            <a:picLocks noChangeAspect="1"/>
          </p:cNvPicPr>
          <p:nvPr userDrawn="1"/>
        </p:nvPicPr>
        <p:blipFill>
          <a:blip r:embed="rId3" cstate="print"/>
          <a:srcRect t="15099" r="29625"/>
          <a:stretch>
            <a:fillRect/>
          </a:stretch>
        </p:blipFill>
        <p:spPr>
          <a:xfrm>
            <a:off x="2936776" y="0"/>
            <a:ext cx="6969224" cy="5822504"/>
          </a:xfrm>
          <a:prstGeom prst="rect">
            <a:avLst/>
          </a:prstGeom>
        </p:spPr>
      </p:pic>
      <p:cxnSp>
        <p:nvCxnSpPr>
          <p:cNvPr id="26" name="직선 연결선 25"/>
          <p:cNvCxnSpPr/>
          <p:nvPr userDrawn="1"/>
        </p:nvCxnSpPr>
        <p:spPr>
          <a:xfrm>
            <a:off x="592585" y="3362742"/>
            <a:ext cx="5872583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슬라이드 번호 개체 틀 28"/>
          <p:cNvSpPr>
            <a:spLocks noGrp="1"/>
          </p:cNvSpPr>
          <p:nvPr userDrawn="1">
            <p:ph type="sldNum" sz="quarter" idx="12"/>
            <p:custDataLst>
              <p:tags r:id="rId1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592585" y="1120969"/>
            <a:ext cx="5904656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직사각형 10"/>
          <p:cNvSpPr/>
          <p:nvPr userDrawn="1"/>
        </p:nvSpPr>
        <p:spPr>
          <a:xfrm>
            <a:off x="3300696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강한상품</a:t>
            </a:r>
            <a:endParaRPr lang="ko-KR" altLang="en-US" sz="14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5" name="직사각형 14"/>
          <p:cNvSpPr/>
          <p:nvPr userDrawn="1"/>
        </p:nvSpPr>
        <p:spPr>
          <a:xfrm>
            <a:off x="4394969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dirty="0" err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소매력</a:t>
            </a:r>
            <a:r>
              <a:rPr lang="ko-KR" altLang="en-US" sz="14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 강화</a:t>
            </a:r>
            <a:endParaRPr lang="ko-KR" altLang="en-US" sz="14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5489241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TCR</a:t>
            </a:r>
            <a:endParaRPr lang="ko-KR" altLang="en-US" sz="14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220796" y="6278256"/>
            <a:ext cx="24961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80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처음처럼  </a:t>
            </a:r>
            <a:r>
              <a:rPr lang="en-US" altLang="ko-KR" sz="180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Back to Basics</a:t>
            </a:r>
            <a:endParaRPr lang="ko-KR" altLang="en-US" sz="1800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585" y="692867"/>
            <a:ext cx="2090324" cy="20220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직선 연결선 19"/>
          <p:cNvCxnSpPr/>
          <p:nvPr userDrawn="1"/>
        </p:nvCxnSpPr>
        <p:spPr>
          <a:xfrm>
            <a:off x="236476" y="22507"/>
            <a:ext cx="9433048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연결선 20"/>
          <p:cNvCxnSpPr/>
          <p:nvPr userDrawn="1"/>
        </p:nvCxnSpPr>
        <p:spPr>
          <a:xfrm>
            <a:off x="200472" y="980728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/>
          <p:cNvCxnSpPr/>
          <p:nvPr userDrawn="1"/>
        </p:nvCxnSpPr>
        <p:spPr>
          <a:xfrm>
            <a:off x="200472" y="652534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슬라이드 번호 개체 틀 28"/>
          <p:cNvSpPr>
            <a:spLocks noGrp="1"/>
          </p:cNvSpPr>
          <p:nvPr userDrawn="1">
            <p:ph type="sldNum" sz="quarter" idx="12"/>
            <p:custDataLst>
              <p:tags r:id="rId1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5" name="직사각형 14"/>
          <p:cNvSpPr/>
          <p:nvPr userDrawn="1"/>
        </p:nvSpPr>
        <p:spPr>
          <a:xfrm>
            <a:off x="7221336" y="2732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강한상품</a:t>
            </a:r>
            <a:endParaRPr lang="ko-KR" altLang="en-US" sz="10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8058953" y="2732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소매력</a:t>
            </a:r>
            <a:r>
              <a:rPr lang="ko-KR" altLang="en-US" sz="10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 강화</a:t>
            </a:r>
            <a:endParaRPr lang="ko-KR" altLang="en-US" sz="10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7" name="직사각형 16"/>
          <p:cNvSpPr/>
          <p:nvPr userDrawn="1"/>
        </p:nvSpPr>
        <p:spPr>
          <a:xfrm>
            <a:off x="8896570" y="2732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TCR</a:t>
            </a:r>
            <a:endParaRPr lang="ko-KR" altLang="en-US" sz="10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9528" y="6574133"/>
            <a:ext cx="1296000" cy="125367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472" y="6574133"/>
            <a:ext cx="1499616" cy="131064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슬라이드 번호 개체 틀 28"/>
          <p:cNvSpPr>
            <a:spLocks noGrp="1"/>
          </p:cNvSpPr>
          <p:nvPr userDrawn="1">
            <p:ph type="sldNum" sz="quarter" idx="4"/>
            <p:custDataLst>
              <p:tags r:id="rId4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49" r:id="rId2"/>
  </p:sldLayoutIdLst>
  <p:hf hdr="0" ftr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6512793" y="3501008"/>
            <a:ext cx="28647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목차</a:t>
            </a:r>
            <a:endParaRPr lang="ko-KR" altLang="en-US" sz="1600" spc="-150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60512" y="1431359"/>
            <a:ext cx="8715554" cy="5632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kumimoji="1" lang="en-US" altLang="ko-KR" sz="36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Amazon.com </a:t>
            </a:r>
            <a:r>
              <a:rPr kumimoji="1" lang="ko-KR" altLang="en-US" sz="36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추천 </a:t>
            </a:r>
            <a:r>
              <a:rPr kumimoji="1" lang="en-US" altLang="ko-KR" sz="36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exampl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60512" y="3497233"/>
            <a:ext cx="201622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1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일자  </a:t>
            </a:r>
            <a:r>
              <a:rPr lang="en-US" altLang="ko-KR" sz="11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| </a:t>
            </a:r>
            <a:r>
              <a:rPr lang="en-US" altLang="ko-KR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2017.04.04</a:t>
            </a:r>
          </a:p>
          <a:p>
            <a:pPr>
              <a:lnSpc>
                <a:spcPct val="150000"/>
              </a:lnSpc>
            </a:pPr>
            <a:r>
              <a:rPr lang="ko-KR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성명 </a:t>
            </a:r>
            <a:r>
              <a:rPr lang="en-US" altLang="ko-KR" sz="11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|</a:t>
            </a:r>
            <a:r>
              <a:rPr lang="ko-KR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캠프아문</a:t>
            </a:r>
            <a:r>
              <a:rPr lang="ko-KR" alt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젠</a:t>
            </a:r>
            <a:endParaRPr lang="ko-KR" altLang="en-US" sz="1100" spc="-150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6152752" y="3933057"/>
            <a:ext cx="3480767" cy="5257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5937" lvl="1" indent="-228600">
              <a:lnSpc>
                <a:spcPct val="150000"/>
              </a:lnSpc>
              <a:buAutoNum type="arabicPeriod"/>
              <a:defRPr/>
            </a:pPr>
            <a:r>
              <a:rPr kumimoji="1" lang="en-US" altLang="ko-KR" sz="10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Web (</a:t>
            </a:r>
            <a:r>
              <a:rPr kumimoji="1" lang="ko-KR" altLang="en-US" sz="10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메인 </a:t>
            </a:r>
            <a:r>
              <a:rPr kumimoji="1" lang="en-US" altLang="ko-KR" sz="10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 </a:t>
            </a:r>
            <a:r>
              <a:rPr kumimoji="1" lang="ko-KR" altLang="en-US" sz="10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상세 </a:t>
            </a:r>
            <a:r>
              <a:rPr kumimoji="1" lang="en-US" altLang="ko-KR" sz="10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 </a:t>
            </a:r>
            <a:r>
              <a:rPr kumimoji="1" lang="ko-KR" altLang="en-US" sz="10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장바구니</a:t>
            </a:r>
            <a:r>
              <a:rPr kumimoji="1" lang="en-US" altLang="ko-KR" sz="10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</a:p>
          <a:p>
            <a:pPr marL="515937" lvl="1" indent="-228600">
              <a:lnSpc>
                <a:spcPct val="150000"/>
              </a:lnSpc>
              <a:buAutoNum type="arabicPeriod"/>
              <a:defRPr/>
            </a:pPr>
            <a:r>
              <a:rPr kumimoji="1" lang="en-US" altLang="ko-KR" sz="10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pp (</a:t>
            </a:r>
            <a:r>
              <a:rPr kumimoji="1" lang="ko-KR" altLang="en-US" sz="10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메인 </a:t>
            </a:r>
            <a:r>
              <a:rPr kumimoji="1" lang="en-US" altLang="ko-KR" sz="10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 </a:t>
            </a:r>
            <a:r>
              <a:rPr kumimoji="1" lang="ko-KR" altLang="en-US" sz="10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상세 </a:t>
            </a:r>
            <a:r>
              <a:rPr kumimoji="1" lang="en-US" altLang="ko-KR" sz="10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 </a:t>
            </a:r>
            <a:r>
              <a:rPr kumimoji="1" lang="ko-KR" altLang="en-US" sz="10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장바구니</a:t>
            </a:r>
            <a:r>
              <a:rPr kumimoji="1" lang="en-US" altLang="ko-KR" sz="10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kumimoji="1" lang="en-US" altLang="ko-KR" sz="1000" spc="-80" dirty="0" smtClean="0">
              <a:solidFill>
                <a:schemeClr val="tx1">
                  <a:lumMod val="65000"/>
                  <a:lumOff val="35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cxnSp>
        <p:nvCxnSpPr>
          <p:cNvPr id="20" name="직선 연결선 19"/>
          <p:cNvCxnSpPr/>
          <p:nvPr/>
        </p:nvCxnSpPr>
        <p:spPr>
          <a:xfrm>
            <a:off x="6569249" y="3362742"/>
            <a:ext cx="2706818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070" y="2396247"/>
            <a:ext cx="6235222" cy="388843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0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6" name="제목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ko-KR" altLang="en-US" sz="2000" dirty="0" smtClean="0"/>
              <a:t>개인화 </a:t>
            </a:r>
            <a:r>
              <a:rPr lang="en-US" altLang="ko-KR" sz="2000" dirty="0" smtClean="0"/>
              <a:t>Offering </a:t>
            </a:r>
            <a:r>
              <a:rPr lang="ko-KR" altLang="en-US" sz="2000" dirty="0" err="1" smtClean="0"/>
              <a:t>큐레이션</a:t>
            </a:r>
            <a:r>
              <a:rPr lang="ko-KR" altLang="en-US" sz="2000" dirty="0" smtClean="0"/>
              <a:t> </a:t>
            </a:r>
            <a:r>
              <a:rPr lang="en-US" altLang="ko-KR" sz="2000" dirty="0" smtClean="0"/>
              <a:t>(1/9)</a:t>
            </a:r>
            <a:endParaRPr lang="ko-KR" altLang="en-US" sz="2000" dirty="0"/>
          </a:p>
        </p:txBody>
      </p:sp>
      <p:graphicFrame>
        <p:nvGraphicFramePr>
          <p:cNvPr id="11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7173168"/>
              </p:ext>
            </p:extLst>
          </p:nvPr>
        </p:nvGraphicFramePr>
        <p:xfrm>
          <a:off x="200472" y="1024255"/>
          <a:ext cx="9500741" cy="1252616"/>
        </p:xfrm>
        <a:graphic>
          <a:graphicData uri="http://schemas.openxmlformats.org/drawingml/2006/table">
            <a:tbl>
              <a:tblPr/>
              <a:tblGrid>
                <a:gridCol w="1080120"/>
                <a:gridCol w="2537536"/>
                <a:gridCol w="962675"/>
                <a:gridCol w="1244110"/>
                <a:gridCol w="1430974"/>
                <a:gridCol w="2245326"/>
              </a:tblGrid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천 페이지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장바구니 페이지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로그인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Y</a:t>
                      </a: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천 채널 </a:t>
                      </a: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 </a:t>
                      </a: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코너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Web /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장바구니 페이지 우측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bar</a:t>
                      </a: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상황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특정 상품 상세 페이지 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Context Catch</a:t>
                      </a:r>
                      <a:endParaRPr kumimoji="1" lang="ko-KR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천 전략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latin typeface="+mn-ea"/>
                        </a:rPr>
                        <a:t>-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AutoShape 11"/>
          <p:cNvSpPr>
            <a:spLocks noChangeArrowheads="1"/>
          </p:cNvSpPr>
          <p:nvPr/>
        </p:nvSpPr>
        <p:spPr bwMode="gray">
          <a:xfrm>
            <a:off x="6620453" y="2448176"/>
            <a:ext cx="1103652" cy="21544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b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추천</a:t>
            </a:r>
            <a:r>
              <a:rPr lang="en-US" altLang="zh-CN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 </a:t>
            </a:r>
            <a:r>
              <a:rPr lang="ko-KR" altLang="en-US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영역 名</a:t>
            </a:r>
            <a:endParaRPr lang="zh-CN" altLang="en-US" sz="1400" b="1" dirty="0">
              <a:solidFill>
                <a:srgbClr val="002960"/>
              </a:solidFill>
              <a:latin typeface="아리따-돋움(TTF)-Medium" panose="02020603020101020101" pitchFamily="18" charset="-127"/>
              <a:cs typeface="Arial" charset="0"/>
            </a:endParaRPr>
          </a:p>
        </p:txBody>
      </p:sp>
      <p:sp>
        <p:nvSpPr>
          <p:cNvPr id="10" name="Rectangle 29"/>
          <p:cNvSpPr txBox="1"/>
          <p:nvPr/>
        </p:nvSpPr>
        <p:spPr>
          <a:xfrm>
            <a:off x="6579858" y="2729524"/>
            <a:ext cx="288150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kumimoji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kumimoji="1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kumimoji="1"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kumimoji="1"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9pPr>
          </a:lstStyle>
          <a:p>
            <a:pPr lvl="1" fontAlgn="base" latinLnBrk="0">
              <a:spcAft>
                <a:spcPct val="0"/>
              </a:spcAft>
              <a:buClr>
                <a:srgbClr val="002960"/>
              </a:buClr>
            </a:pPr>
            <a:r>
              <a:rPr lang="en-US" altLang="ko-KR" sz="1400" dirty="0" err="1" smtClean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Frequntly</a:t>
            </a:r>
            <a:r>
              <a:rPr lang="en-US" altLang="ko-KR" sz="1400" dirty="0" smtClean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 bought with </a:t>
            </a:r>
            <a:r>
              <a:rPr lang="ko-KR" altLang="en-US" sz="1400" b="1" dirty="0" smtClean="0">
                <a:solidFill>
                  <a:srgbClr val="005699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담은 상품명</a:t>
            </a:r>
            <a:endParaRPr lang="en-US" altLang="ko-KR" sz="1400" b="1" u="sng" dirty="0" smtClean="0">
              <a:solidFill>
                <a:srgbClr val="005699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Wingdings" panose="05000000000000000000" pitchFamily="2" charset="2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6588096" y="3284984"/>
            <a:ext cx="2414261" cy="1728192"/>
            <a:chOff x="7165932" y="5451817"/>
            <a:chExt cx="2460790" cy="512107"/>
          </a:xfrm>
        </p:grpSpPr>
        <p:sp>
          <p:nvSpPr>
            <p:cNvPr id="13" name="Rectangle 79"/>
            <p:cNvSpPr/>
            <p:nvPr/>
          </p:nvSpPr>
          <p:spPr>
            <a:xfrm>
              <a:off x="7165932" y="5451817"/>
              <a:ext cx="2460790" cy="512107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lIns="36000" rIns="36000"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14" name="Rectangle 29"/>
            <p:cNvSpPr txBox="1"/>
            <p:nvPr/>
          </p:nvSpPr>
          <p:spPr>
            <a:xfrm>
              <a:off x="7201500" y="5451817"/>
              <a:ext cx="2381409" cy="1292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9pPr>
            </a:lstStyle>
            <a:p>
              <a:pPr lvl="1" fontAlgn="base" latinLnBrk="0">
                <a:lnSpc>
                  <a:spcPts val="17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ko-KR" altLang="en-US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함께 구매하는  연관상품 추천 </a:t>
              </a:r>
              <a:r>
                <a:rPr lang="en-US" altLang="ko-KR" sz="1200" dirty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/>
              </a:r>
              <a:br>
                <a:rPr lang="en-US" altLang="ko-KR" sz="1200" dirty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</a:br>
              <a:r>
                <a:rPr lang="ko-KR" altLang="en-US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→ 장바구니 담은 상품 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+ </a:t>
              </a:r>
              <a:r>
                <a:rPr lang="el-GR" altLang="ko-KR" sz="1600" b="1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OTF)-Medium"/>
                  <a:sym typeface="Wingdings" panose="05000000000000000000" pitchFamily="2" charset="2"/>
                </a:rPr>
                <a:t>α</a:t>
              </a:r>
              <a:endParaRPr lang="en-US" altLang="ko-KR" sz="1200" b="1" dirty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endParaRPr>
            </a:p>
          </p:txBody>
        </p:sp>
      </p:grpSp>
      <p:sp>
        <p:nvSpPr>
          <p:cNvPr id="15" name="직사각형 14"/>
          <p:cNvSpPr/>
          <p:nvPr/>
        </p:nvSpPr>
        <p:spPr>
          <a:xfrm>
            <a:off x="4520952" y="3645023"/>
            <a:ext cx="1915340" cy="2639655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01695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1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6" name="제목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ko-KR" altLang="en-US" sz="2000" dirty="0" smtClean="0"/>
              <a:t>개인화 </a:t>
            </a:r>
            <a:r>
              <a:rPr lang="en-US" altLang="ko-KR" sz="2000" dirty="0" smtClean="0"/>
              <a:t>Offering </a:t>
            </a:r>
            <a:r>
              <a:rPr lang="ko-KR" altLang="en-US" sz="2000" dirty="0" err="1" smtClean="0"/>
              <a:t>큐레이션</a:t>
            </a:r>
            <a:r>
              <a:rPr lang="ko-KR" altLang="en-US" sz="2000" dirty="0" smtClean="0"/>
              <a:t> </a:t>
            </a:r>
            <a:r>
              <a:rPr lang="en-US" altLang="ko-KR" sz="2000" dirty="0" smtClean="0"/>
              <a:t>(1/9)</a:t>
            </a:r>
            <a:endParaRPr lang="ko-KR" altLang="en-US" sz="2000" dirty="0"/>
          </a:p>
        </p:txBody>
      </p:sp>
      <p:graphicFrame>
        <p:nvGraphicFramePr>
          <p:cNvPr id="11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7181302"/>
              </p:ext>
            </p:extLst>
          </p:nvPr>
        </p:nvGraphicFramePr>
        <p:xfrm>
          <a:off x="200472" y="1024255"/>
          <a:ext cx="9500741" cy="1252616"/>
        </p:xfrm>
        <a:graphic>
          <a:graphicData uri="http://schemas.openxmlformats.org/drawingml/2006/table">
            <a:tbl>
              <a:tblPr/>
              <a:tblGrid>
                <a:gridCol w="1080120"/>
                <a:gridCol w="2537536"/>
                <a:gridCol w="962675"/>
                <a:gridCol w="1244110"/>
                <a:gridCol w="1430974"/>
                <a:gridCol w="2245326"/>
              </a:tblGrid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천 페이지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장바구니 페이지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로그인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Y</a:t>
                      </a: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천 채널 </a:t>
                      </a: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 </a:t>
                      </a: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코너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Web /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장바구니 페이지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최하단</a:t>
                      </a: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상황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특정 상품 상세 페이지 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Context Catch</a:t>
                      </a:r>
                      <a:endParaRPr kumimoji="1" lang="ko-KR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천 전략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latin typeface="+mn-ea"/>
                        </a:rPr>
                        <a:t>-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2372500"/>
            <a:ext cx="5616624" cy="44855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5" name="직사각형 14"/>
          <p:cNvSpPr/>
          <p:nvPr/>
        </p:nvSpPr>
        <p:spPr>
          <a:xfrm>
            <a:off x="222102" y="2401173"/>
            <a:ext cx="3938809" cy="1747907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직사각형 16"/>
          <p:cNvSpPr/>
          <p:nvPr/>
        </p:nvSpPr>
        <p:spPr>
          <a:xfrm>
            <a:off x="222102" y="4365104"/>
            <a:ext cx="5522986" cy="1872208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직사각형 17"/>
          <p:cNvSpPr/>
          <p:nvPr/>
        </p:nvSpPr>
        <p:spPr>
          <a:xfrm>
            <a:off x="222102" y="6325796"/>
            <a:ext cx="5522986" cy="422091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AutoShape 11"/>
          <p:cNvSpPr>
            <a:spLocks noChangeArrowheads="1"/>
          </p:cNvSpPr>
          <p:nvPr/>
        </p:nvSpPr>
        <p:spPr bwMode="gray">
          <a:xfrm>
            <a:off x="5975761" y="2448176"/>
            <a:ext cx="1103652" cy="21544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b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추천</a:t>
            </a:r>
            <a:r>
              <a:rPr lang="en-US" altLang="zh-CN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 </a:t>
            </a:r>
            <a:r>
              <a:rPr lang="ko-KR" altLang="en-US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영역 名</a:t>
            </a:r>
            <a:endParaRPr lang="zh-CN" altLang="en-US" sz="1400" b="1" dirty="0">
              <a:solidFill>
                <a:srgbClr val="002960"/>
              </a:solidFill>
              <a:latin typeface="아리따-돋움(TTF)-Medium" panose="02020603020101020101" pitchFamily="18" charset="-127"/>
              <a:cs typeface="Arial" charset="0"/>
            </a:endParaRPr>
          </a:p>
        </p:txBody>
      </p:sp>
      <p:sp>
        <p:nvSpPr>
          <p:cNvPr id="20" name="Rectangle 29"/>
          <p:cNvSpPr txBox="1"/>
          <p:nvPr/>
        </p:nvSpPr>
        <p:spPr>
          <a:xfrm>
            <a:off x="5935166" y="2729524"/>
            <a:ext cx="355343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kumimoji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kumimoji="1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kumimoji="1"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kumimoji="1"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9pPr>
          </a:lstStyle>
          <a:p>
            <a:pPr lvl="1" fontAlgn="base" latinLnBrk="0">
              <a:spcAft>
                <a:spcPct val="0"/>
              </a:spcAft>
              <a:buClr>
                <a:srgbClr val="002960"/>
              </a:buClr>
            </a:pPr>
            <a:r>
              <a:rPr lang="en-US" altLang="ko-KR" sz="1400" dirty="0" smtClean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Customers who </a:t>
            </a:r>
            <a:r>
              <a:rPr lang="en-US" altLang="ko-KR" sz="1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Bought item </a:t>
            </a:r>
            <a:r>
              <a:rPr lang="en-US" altLang="ko-KR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in Your Recent History Also Bought</a:t>
            </a:r>
            <a:endParaRPr lang="en-US" altLang="ko-KR" sz="1400" b="1" u="sng" dirty="0" smtClean="0">
              <a:solidFill>
                <a:schemeClr val="tx2">
                  <a:lumMod val="60000"/>
                  <a:lumOff val="40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Wingdings" panose="05000000000000000000" pitchFamily="2" charset="2"/>
            </a:endParaRPr>
          </a:p>
        </p:txBody>
      </p:sp>
      <p:grpSp>
        <p:nvGrpSpPr>
          <p:cNvPr id="21" name="그룹 20"/>
          <p:cNvGrpSpPr/>
          <p:nvPr/>
        </p:nvGrpSpPr>
        <p:grpSpPr>
          <a:xfrm>
            <a:off x="5943404" y="3342944"/>
            <a:ext cx="3418867" cy="576064"/>
            <a:chOff x="7165932" y="5451817"/>
            <a:chExt cx="2460790" cy="512107"/>
          </a:xfrm>
        </p:grpSpPr>
        <p:sp>
          <p:nvSpPr>
            <p:cNvPr id="22" name="Rectangle 79"/>
            <p:cNvSpPr/>
            <p:nvPr/>
          </p:nvSpPr>
          <p:spPr>
            <a:xfrm>
              <a:off x="7165932" y="5451817"/>
              <a:ext cx="2460790" cy="512107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lIns="36000" rIns="36000"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23" name="Rectangle 29"/>
            <p:cNvSpPr txBox="1"/>
            <p:nvPr/>
          </p:nvSpPr>
          <p:spPr>
            <a:xfrm>
              <a:off x="7201500" y="5451817"/>
              <a:ext cx="2381409" cy="1767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9pPr>
            </a:lstStyle>
            <a:p>
              <a:pPr lvl="1" fontAlgn="base" latinLnBrk="0">
                <a:lnSpc>
                  <a:spcPts val="17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ko-KR" altLang="en-US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최근 구매 상품과 관련된 구매 상품</a:t>
              </a:r>
              <a:endParaRPr lang="en-US" altLang="ko-KR" sz="1200" b="1" dirty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endParaRPr>
            </a:p>
          </p:txBody>
        </p:sp>
      </p:grpSp>
      <p:sp>
        <p:nvSpPr>
          <p:cNvPr id="24" name="AutoShape 11"/>
          <p:cNvSpPr>
            <a:spLocks noChangeArrowheads="1"/>
          </p:cNvSpPr>
          <p:nvPr/>
        </p:nvSpPr>
        <p:spPr bwMode="gray">
          <a:xfrm>
            <a:off x="5975761" y="4276112"/>
            <a:ext cx="1103652" cy="21544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b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추천</a:t>
            </a:r>
            <a:r>
              <a:rPr lang="en-US" altLang="zh-CN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 </a:t>
            </a:r>
            <a:r>
              <a:rPr lang="ko-KR" altLang="en-US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영역 名</a:t>
            </a:r>
            <a:endParaRPr lang="zh-CN" altLang="en-US" sz="1400" b="1" dirty="0">
              <a:solidFill>
                <a:srgbClr val="002960"/>
              </a:solidFill>
              <a:latin typeface="아리따-돋움(TTF)-Medium" panose="02020603020101020101" pitchFamily="18" charset="-127"/>
              <a:cs typeface="Arial" charset="0"/>
            </a:endParaRPr>
          </a:p>
        </p:txBody>
      </p:sp>
      <p:sp>
        <p:nvSpPr>
          <p:cNvPr id="25" name="Rectangle 29"/>
          <p:cNvSpPr txBox="1"/>
          <p:nvPr/>
        </p:nvSpPr>
        <p:spPr>
          <a:xfrm>
            <a:off x="5935166" y="4557460"/>
            <a:ext cx="421705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kumimoji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kumimoji="1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kumimoji="1"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kumimoji="1"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9pPr>
          </a:lstStyle>
          <a:p>
            <a:pPr lvl="1" fontAlgn="base" latinLnBrk="0">
              <a:spcAft>
                <a:spcPct val="0"/>
              </a:spcAft>
              <a:buClr>
                <a:srgbClr val="002960"/>
              </a:buClr>
            </a:pPr>
            <a:r>
              <a:rPr lang="en-US" altLang="ko-KR" sz="1400" dirty="0" smtClean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Your </a:t>
            </a:r>
            <a:r>
              <a:rPr lang="en-US" altLang="ko-KR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recently viewed</a:t>
            </a:r>
            <a:r>
              <a:rPr lang="en-US" altLang="ko-KR" sz="1400" dirty="0" smtClean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 items and featured recommendations</a:t>
            </a:r>
            <a:endParaRPr lang="en-US" altLang="ko-KR" sz="1400" b="1" u="sng" dirty="0" smtClean="0">
              <a:solidFill>
                <a:schemeClr val="tx2">
                  <a:lumMod val="60000"/>
                  <a:lumOff val="40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Wingdings" panose="05000000000000000000" pitchFamily="2" charset="2"/>
            </a:endParaRPr>
          </a:p>
        </p:txBody>
      </p:sp>
      <p:grpSp>
        <p:nvGrpSpPr>
          <p:cNvPr id="26" name="그룹 25"/>
          <p:cNvGrpSpPr/>
          <p:nvPr/>
        </p:nvGrpSpPr>
        <p:grpSpPr>
          <a:xfrm>
            <a:off x="5943404" y="5772985"/>
            <a:ext cx="3418867" cy="576064"/>
            <a:chOff x="7165932" y="5451817"/>
            <a:chExt cx="2460790" cy="512107"/>
          </a:xfrm>
        </p:grpSpPr>
        <p:sp>
          <p:nvSpPr>
            <p:cNvPr id="27" name="Rectangle 79"/>
            <p:cNvSpPr/>
            <p:nvPr/>
          </p:nvSpPr>
          <p:spPr>
            <a:xfrm>
              <a:off x="7165932" y="5451817"/>
              <a:ext cx="2460790" cy="512107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lIns="36000" rIns="36000"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28" name="Rectangle 29"/>
            <p:cNvSpPr txBox="1"/>
            <p:nvPr/>
          </p:nvSpPr>
          <p:spPr>
            <a:xfrm>
              <a:off x="7201500" y="5451817"/>
              <a:ext cx="2381409" cy="1767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9pPr>
            </a:lstStyle>
            <a:p>
              <a:pPr lvl="1" fontAlgn="base" latinLnBrk="0">
                <a:lnSpc>
                  <a:spcPts val="17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ko-KR" altLang="en-US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최근 본 상품</a:t>
              </a:r>
              <a:endParaRPr lang="en-US" altLang="ko-KR" sz="1200" b="1" dirty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endParaRPr>
            </a:p>
          </p:txBody>
        </p:sp>
      </p:grpSp>
      <p:sp>
        <p:nvSpPr>
          <p:cNvPr id="29" name="Rectangle 29"/>
          <p:cNvSpPr txBox="1"/>
          <p:nvPr/>
        </p:nvSpPr>
        <p:spPr>
          <a:xfrm>
            <a:off x="6119777" y="5014996"/>
            <a:ext cx="336882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kumimoji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kumimoji="1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kumimoji="1"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kumimoji="1"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9pPr>
          </a:lstStyle>
          <a:p>
            <a:pPr lvl="1" fontAlgn="base" latinLnBrk="0">
              <a:spcAft>
                <a:spcPct val="0"/>
              </a:spcAft>
              <a:buClr>
                <a:srgbClr val="002960"/>
              </a:buClr>
              <a:buFontTx/>
              <a:buChar char="-"/>
            </a:pPr>
            <a:r>
              <a:rPr lang="en-US" altLang="ko-KR" sz="1400" dirty="0" smtClean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Inspired </a:t>
            </a:r>
            <a:r>
              <a:rPr lang="en-US" altLang="ko-KR" sz="1400" dirty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by your purchases</a:t>
            </a:r>
          </a:p>
          <a:p>
            <a:pPr lvl="1" fontAlgn="base" latinLnBrk="0">
              <a:spcAft>
                <a:spcPct val="0"/>
              </a:spcAft>
              <a:buClr>
                <a:srgbClr val="002960"/>
              </a:buClr>
              <a:buFontTx/>
              <a:buChar char="-"/>
            </a:pPr>
            <a:r>
              <a:rPr lang="en-US" altLang="ko-KR" sz="1400" dirty="0" smtClean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You viewed</a:t>
            </a:r>
          </a:p>
          <a:p>
            <a:pPr lvl="1" fontAlgn="base" latinLnBrk="0">
              <a:spcAft>
                <a:spcPct val="0"/>
              </a:spcAft>
              <a:buClr>
                <a:srgbClr val="002960"/>
              </a:buClr>
              <a:buFontTx/>
              <a:buChar char="-"/>
            </a:pPr>
            <a:r>
              <a:rPr lang="en-US" altLang="ko-KR" sz="14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View or edit your browsing history</a:t>
            </a:r>
          </a:p>
        </p:txBody>
      </p:sp>
    </p:spTree>
    <p:extLst>
      <p:ext uri="{BB962C8B-B14F-4D97-AF65-F5344CB8AC3E}">
        <p14:creationId xmlns:p14="http://schemas.microsoft.com/office/powerpoint/2010/main" val="4134008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제목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altLang="ko-KR" sz="2000" dirty="0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ppendix. </a:t>
            </a:r>
            <a:r>
              <a:rPr lang="ko-KR" altLang="en-US" sz="2000" dirty="0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로그아웃 상태의 </a:t>
            </a:r>
            <a:r>
              <a:rPr lang="en-US" altLang="ko-KR" sz="2000" dirty="0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Web </a:t>
            </a:r>
            <a:r>
              <a:rPr lang="ko-KR" altLang="en-US" sz="2000" dirty="0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메인 화면</a:t>
            </a:r>
            <a:endParaRPr lang="ko-KR" altLang="en-US" sz="2000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pic>
        <p:nvPicPr>
          <p:cNvPr id="1026" name="Picture 2" descr="D:\00. 최란_업무\나. 아문센캠프(17년)\A. 개인화 추천\170404_아마존_캠프아문젠\로그아웃상태의_아마존web_메인화면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082" y="1034718"/>
            <a:ext cx="8924576" cy="5410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4011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3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3" name="AutoShape 11"/>
          <p:cNvSpPr>
            <a:spLocks noChangeArrowheads="1"/>
          </p:cNvSpPr>
          <p:nvPr/>
        </p:nvSpPr>
        <p:spPr bwMode="gray">
          <a:xfrm>
            <a:off x="3940903" y="3157231"/>
            <a:ext cx="1952458" cy="369332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b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2400" b="1" dirty="0" err="1" smtClean="0">
                <a:solidFill>
                  <a:srgbClr val="002960"/>
                </a:solidFill>
                <a:latin typeface="아리따-돋움(TTF)-Medium" panose="02020603020101020101" pitchFamily="18" charset="-127"/>
                <a:cs typeface="Arial" charset="0"/>
              </a:rPr>
              <a:t>메인화면</a:t>
            </a:r>
            <a:r>
              <a:rPr lang="en-US" altLang="ko-KR" sz="2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cs typeface="Arial" charset="0"/>
              </a:rPr>
              <a:t>(App)</a:t>
            </a:r>
            <a:endParaRPr lang="zh-CN" altLang="en-US" sz="2400" b="1" dirty="0">
              <a:solidFill>
                <a:srgbClr val="002960"/>
              </a:solidFill>
              <a:latin typeface="아리따-돋움(TTF)-Medium" panose="02020603020101020101" pitchFamily="18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47139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제목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altLang="ko-KR" sz="2000" dirty="0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pp </a:t>
            </a:r>
            <a:r>
              <a:rPr lang="ko-KR" altLang="en-US" sz="2000" dirty="0" err="1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메인화면</a:t>
            </a:r>
            <a:endParaRPr lang="ko-KR" altLang="en-US" sz="2000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pic>
        <p:nvPicPr>
          <p:cNvPr id="2050" name="Picture 2" descr="D:\00. 최란_업무\나. 아문센캠프(17년)\A. 개인화 추천\170404_아마존_캠프아문젠\Capture+_2017-04-04-12-03-09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273489"/>
            <a:ext cx="3115736" cy="4969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D:\00. 최란_업무\나. 아문센캠프(17년)\A. 개인화 추천\170404_아마존_캠프아문젠\Capture+_2017-04-04-12-03-18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0858" y="1273489"/>
            <a:ext cx="3111668" cy="4969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D:\00. 최란_업무\나. 아문센캠프(17년)\A. 개인화 추천\170404_아마존_캠프아문젠\Capture+_2017-04-04-12-03-30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176" y="1273488"/>
            <a:ext cx="3138986" cy="4969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680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제목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altLang="ko-KR" sz="2000" dirty="0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pp </a:t>
            </a:r>
            <a:r>
              <a:rPr lang="ko-KR" altLang="en-US" sz="2000" dirty="0" err="1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메인화면</a:t>
            </a:r>
            <a:endParaRPr lang="ko-KR" altLang="en-US" sz="2000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pic>
        <p:nvPicPr>
          <p:cNvPr id="3074" name="Picture 2" descr="D:\00. 최란_업무\나. 아문센캠프(17년)\A. 개인화 추천\170404_아마존_캠프아문젠\Capture+_2017-04-04-12-04-14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989" y="1052736"/>
            <a:ext cx="3139200" cy="5119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D:\00. 최란_업무\나. 아문센캠프(17년)\A. 개인화 추천\170404_아마존_캠프아문젠\Capture+_2017-04-04-12-04-28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7087" y="1052736"/>
            <a:ext cx="3139200" cy="5058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D:\00. 최란_업무\나. 아문센캠프(17년)\A. 개인화 추천\170404_아마존_캠프아문젠\Capture+_2017-04-04-12-04-40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9184" y="1052736"/>
            <a:ext cx="3139200" cy="5108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7781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제목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altLang="ko-KR" sz="2000" dirty="0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pp </a:t>
            </a:r>
            <a:r>
              <a:rPr lang="ko-KR" altLang="en-US" sz="2000" dirty="0" err="1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메인화면</a:t>
            </a:r>
            <a:endParaRPr lang="ko-KR" altLang="en-US" sz="2000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pic>
        <p:nvPicPr>
          <p:cNvPr id="4098" name="Picture 2" descr="D:\00. 최란_업무\나. 아문센캠프(17년)\A. 개인화 추천\170404_아마존_캠프아문젠\Capture+_2017-04-04-12-04-5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214" y="1124744"/>
            <a:ext cx="3138767" cy="50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D:\00. 최란_업무\나. 아문센캠프(17년)\A. 개인화 추천\170404_아마존_캠프아문젠\Capture+_2017-04-04-12-05-2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1881" y="1124744"/>
            <a:ext cx="3120894" cy="50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D:\00. 최란_업무\나. 아문센캠프(17년)\A. 개인화 추천\170404_아마존_캠프아문젠\Capture+_2017-04-04-12-05-28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2402" y="1124744"/>
            <a:ext cx="3139200" cy="5059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6675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7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3" name="AutoShape 11"/>
          <p:cNvSpPr>
            <a:spLocks noChangeArrowheads="1"/>
          </p:cNvSpPr>
          <p:nvPr/>
        </p:nvSpPr>
        <p:spPr bwMode="gray">
          <a:xfrm>
            <a:off x="3675832" y="3157231"/>
            <a:ext cx="2568011" cy="369332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b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2400" b="1" smtClean="0">
                <a:solidFill>
                  <a:srgbClr val="002960"/>
                </a:solidFill>
                <a:latin typeface="아리따-돋움(TTF)-Medium" panose="02020603020101020101" pitchFamily="18" charset="-127"/>
                <a:cs typeface="Arial" charset="0"/>
              </a:rPr>
              <a:t>상품상</a:t>
            </a:r>
            <a:r>
              <a:rPr lang="ko-KR" altLang="en-US" sz="2400" b="1">
                <a:solidFill>
                  <a:srgbClr val="002960"/>
                </a:solidFill>
                <a:latin typeface="아리따-돋움(TTF)-Medium" panose="02020603020101020101" pitchFamily="18" charset="-127"/>
                <a:cs typeface="Arial" charset="0"/>
              </a:rPr>
              <a:t>세</a:t>
            </a:r>
            <a:r>
              <a:rPr lang="ko-KR" altLang="en-US" sz="2400" b="1" smtClean="0">
                <a:solidFill>
                  <a:srgbClr val="002960"/>
                </a:solidFill>
                <a:latin typeface="아리따-돋움(TTF)-Medium" panose="02020603020101020101" pitchFamily="18" charset="-127"/>
                <a:cs typeface="Arial" charset="0"/>
              </a:rPr>
              <a:t>화면</a:t>
            </a:r>
            <a:r>
              <a:rPr lang="en-US" altLang="ko-KR" sz="2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cs typeface="Arial" charset="0"/>
              </a:rPr>
              <a:t>(App)</a:t>
            </a:r>
            <a:endParaRPr lang="zh-CN" altLang="en-US" sz="2400" b="1" dirty="0">
              <a:solidFill>
                <a:srgbClr val="002960"/>
              </a:solidFill>
              <a:latin typeface="아리따-돋움(TTF)-Medium" panose="02020603020101020101" pitchFamily="18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5970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제목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altLang="ko-KR" sz="2000" dirty="0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pp </a:t>
            </a:r>
            <a:r>
              <a:rPr lang="ko-KR" altLang="en-US" sz="2000" dirty="0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상품 상세 페이지</a:t>
            </a:r>
            <a:endParaRPr lang="ko-KR" altLang="en-US" sz="2000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pic>
        <p:nvPicPr>
          <p:cNvPr id="1027" name="Picture 3" descr="D:\00. 최란_업무\나. 아문센캠프(17년)\A. 개인화 추천\170404_아마존_캠프아문젠\Capture+_2017-04-04-12-06-0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8824" y="1142437"/>
            <a:ext cx="3139200" cy="5070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D:\00. 최란_업무\나. 아문센캠프(17년)\A. 개인화 추천\170404_아마존_캠프아문젠\Capture+_2017-04-04-12-06-14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176" y="1142437"/>
            <a:ext cx="3139200" cy="4982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D:\00. 최란_업무\나. 아문센캠프(17년)\A. 개인화 추천\170404_아마존_캠프아문젠\Capture+_2017-04-04-12-07-20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142437"/>
            <a:ext cx="3139200" cy="4989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3393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제목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altLang="ko-KR" sz="2000" dirty="0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pp </a:t>
            </a:r>
            <a:r>
              <a:rPr lang="ko-KR" altLang="en-US" sz="2000" dirty="0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상품 상세 페이지</a:t>
            </a:r>
            <a:endParaRPr lang="ko-KR" altLang="en-US" sz="2000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pic>
        <p:nvPicPr>
          <p:cNvPr id="1029" name="Picture 5" descr="D:\00. 최란_업무\나. 아문센캠프(17년)\A. 개인화 추천\170404_아마존_캠프아문젠\Capture+_2017-04-04-12-06-26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7148" y="1196752"/>
            <a:ext cx="3139200" cy="5019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D:\00. 최란_업무\나. 아문센캠프(17년)\A. 개인화 추천\170404_아마존_캠프아문젠\Capture+_2017-04-04-12-06-39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196752"/>
            <a:ext cx="3139200" cy="4998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D:\00. 최란_업무\나. 아문센캠프(17년)\A. 개인화 추천\170404_아마존_캠프아문젠\Capture+_2017-04-04-12-06-5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8810" y="1196752"/>
            <a:ext cx="3139200" cy="5028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1539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2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3" name="AutoShape 11"/>
          <p:cNvSpPr>
            <a:spLocks noChangeArrowheads="1"/>
          </p:cNvSpPr>
          <p:nvPr/>
        </p:nvSpPr>
        <p:spPr bwMode="gray">
          <a:xfrm>
            <a:off x="3940903" y="3157231"/>
            <a:ext cx="2008563" cy="369332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b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2400" b="1" dirty="0" err="1" smtClean="0">
                <a:solidFill>
                  <a:srgbClr val="002960"/>
                </a:solidFill>
                <a:latin typeface="아리따-돋움(TTF)-Medium" panose="02020603020101020101" pitchFamily="18" charset="-127"/>
                <a:cs typeface="Arial" charset="0"/>
              </a:rPr>
              <a:t>메인화면</a:t>
            </a:r>
            <a:r>
              <a:rPr lang="en-US" altLang="ko-KR" sz="2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cs typeface="Arial" charset="0"/>
              </a:rPr>
              <a:t>(Web)</a:t>
            </a:r>
            <a:endParaRPr lang="zh-CN" altLang="en-US" sz="2400" b="1" dirty="0">
              <a:solidFill>
                <a:srgbClr val="002960"/>
              </a:solidFill>
              <a:latin typeface="아리따-돋움(TTF)-Medium" panose="02020603020101020101" pitchFamily="18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93241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20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3" name="AutoShape 11"/>
          <p:cNvSpPr>
            <a:spLocks noChangeArrowheads="1"/>
          </p:cNvSpPr>
          <p:nvPr/>
        </p:nvSpPr>
        <p:spPr bwMode="gray">
          <a:xfrm>
            <a:off x="3152227" y="3157231"/>
            <a:ext cx="3606757" cy="369332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b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2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cs typeface="Arial" charset="0"/>
              </a:rPr>
              <a:t>장바구니</a:t>
            </a:r>
            <a:r>
              <a:rPr lang="en-US" altLang="ko-KR" sz="2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cs typeface="Arial" charset="0"/>
              </a:rPr>
              <a:t>/</a:t>
            </a:r>
            <a:r>
              <a:rPr lang="ko-KR" altLang="en-US" sz="2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cs typeface="Arial" charset="0"/>
              </a:rPr>
              <a:t>사이드메뉴</a:t>
            </a:r>
            <a:r>
              <a:rPr lang="en-US" altLang="ko-KR" sz="2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cs typeface="Arial" charset="0"/>
              </a:rPr>
              <a:t>(</a:t>
            </a:r>
            <a:r>
              <a:rPr lang="en-US" altLang="ko-KR" sz="2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cs typeface="Arial" charset="0"/>
              </a:rPr>
              <a:t>App)</a:t>
            </a:r>
            <a:endParaRPr lang="zh-CN" altLang="en-US" sz="2400" b="1" dirty="0">
              <a:solidFill>
                <a:srgbClr val="002960"/>
              </a:solidFill>
              <a:latin typeface="아리따-돋움(TTF)-Medium" panose="02020603020101020101" pitchFamily="18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36101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제목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altLang="ko-KR" sz="2000" dirty="0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App </a:t>
            </a:r>
            <a:r>
              <a:rPr lang="ko-KR" altLang="en-US" sz="2000" dirty="0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장바구니 페이지</a:t>
            </a:r>
            <a:endParaRPr lang="ko-KR" altLang="en-US" sz="2000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pic>
        <p:nvPicPr>
          <p:cNvPr id="2050" name="Picture 2" descr="D:\00. 최란_업무\나. 아문센캠프(17년)\A. 개인화 추천\170404_아마존_캠프아문젠\Capture+_2017-04-04-12-07-57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38" y="1098497"/>
            <a:ext cx="3139200" cy="5008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D:\00. 최란_업무\나. 아문센캠프(17년)\A. 개인화 추천\170404_아마존_캠프아문젠\Capture+_2017-04-04-12-10-1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9057" y="1098497"/>
            <a:ext cx="3139200" cy="5017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D:\00. 최란_업무\나. 아문센캠프(17년)\A. 개인화 추천\170404_아마존_캠프아문젠\Capture+_2017-04-04-12-11-2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176" y="1098497"/>
            <a:ext cx="3139200" cy="5011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8029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3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6" name="제목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ko-KR" altLang="en-US" sz="2000" dirty="0" smtClean="0"/>
              <a:t>개인화 </a:t>
            </a:r>
            <a:r>
              <a:rPr lang="en-US" altLang="ko-KR" sz="2000" dirty="0" smtClean="0"/>
              <a:t>Offering </a:t>
            </a:r>
            <a:r>
              <a:rPr lang="ko-KR" altLang="en-US" sz="2000" dirty="0" err="1" smtClean="0"/>
              <a:t>큐레이션</a:t>
            </a:r>
            <a:r>
              <a:rPr lang="ko-KR" altLang="en-US" sz="2000" dirty="0" smtClean="0"/>
              <a:t> </a:t>
            </a:r>
            <a:r>
              <a:rPr lang="en-US" altLang="ko-KR" sz="2000" dirty="0" smtClean="0"/>
              <a:t>(1/9)</a:t>
            </a:r>
            <a:endParaRPr lang="ko-KR" altLang="en-US" sz="2000" dirty="0"/>
          </a:p>
        </p:txBody>
      </p:sp>
      <p:graphicFrame>
        <p:nvGraphicFramePr>
          <p:cNvPr id="11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2181708"/>
              </p:ext>
            </p:extLst>
          </p:nvPr>
        </p:nvGraphicFramePr>
        <p:xfrm>
          <a:off x="200472" y="1024255"/>
          <a:ext cx="9500741" cy="1252616"/>
        </p:xfrm>
        <a:graphic>
          <a:graphicData uri="http://schemas.openxmlformats.org/drawingml/2006/table">
            <a:tbl>
              <a:tblPr/>
              <a:tblGrid>
                <a:gridCol w="1080120"/>
                <a:gridCol w="2537536"/>
                <a:gridCol w="962675"/>
                <a:gridCol w="1244110"/>
                <a:gridCol w="1430974"/>
                <a:gridCol w="2245326"/>
              </a:tblGrid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천 페이지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메인화면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로그인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Y</a:t>
                      </a: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천 채널 </a:t>
                      </a: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 </a:t>
                      </a: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코너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Web /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상단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메인베너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바로 아래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상황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메인화면에서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로그인을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하고나서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처음으로 보여지는 메인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Context Catch</a:t>
                      </a:r>
                      <a:endParaRPr kumimoji="1" lang="ko-KR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천 전략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latin typeface="+mn-ea"/>
                        </a:rPr>
                        <a:t>-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2481113"/>
            <a:ext cx="6938920" cy="335349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2" name="AutoShape 11"/>
          <p:cNvSpPr>
            <a:spLocks noChangeArrowheads="1"/>
          </p:cNvSpPr>
          <p:nvPr/>
        </p:nvSpPr>
        <p:spPr bwMode="gray">
          <a:xfrm>
            <a:off x="7401272" y="2458419"/>
            <a:ext cx="912109" cy="21544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b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추천</a:t>
            </a:r>
            <a:r>
              <a:rPr lang="en-US" altLang="zh-CN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 </a:t>
            </a:r>
            <a:r>
              <a:rPr lang="ko-KR" altLang="en-US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영</a:t>
            </a:r>
            <a:r>
              <a:rPr lang="ko-KR" altLang="en-US" sz="1400" b="1" dirty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역</a:t>
            </a:r>
            <a:r>
              <a:rPr lang="ko-KR" altLang="en-US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 名</a:t>
            </a:r>
            <a:endParaRPr lang="zh-CN" altLang="en-US" sz="1400" b="1" dirty="0">
              <a:solidFill>
                <a:srgbClr val="002960"/>
              </a:solidFill>
              <a:latin typeface="아리따-돋움(TTF)-Medium" panose="02020603020101020101" pitchFamily="18" charset="-127"/>
              <a:cs typeface="Arial" charset="0"/>
            </a:endParaRPr>
          </a:p>
        </p:txBody>
      </p:sp>
      <p:sp>
        <p:nvSpPr>
          <p:cNvPr id="13" name="Rectangle 29"/>
          <p:cNvSpPr txBox="1"/>
          <p:nvPr/>
        </p:nvSpPr>
        <p:spPr>
          <a:xfrm>
            <a:off x="7401272" y="2786794"/>
            <a:ext cx="238140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kumimoji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kumimoji="1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kumimoji="1"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kumimoji="1"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9pPr>
          </a:lstStyle>
          <a:p>
            <a:pPr lvl="1" fontAlgn="base" latinLnBrk="0">
              <a:spcAft>
                <a:spcPct val="0"/>
              </a:spcAft>
              <a:buClr>
                <a:srgbClr val="002960"/>
              </a:buClr>
            </a:pPr>
            <a:r>
              <a:rPr lang="en-US" altLang="ko-KR" sz="1400" dirty="0" smtClean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Recommendations for you in “</a:t>
            </a:r>
            <a:r>
              <a:rPr lang="en-US" altLang="ko-KR" sz="1400" b="1" u="sng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Sports &amp; Outdoors”</a:t>
            </a:r>
          </a:p>
        </p:txBody>
      </p:sp>
      <p:sp>
        <p:nvSpPr>
          <p:cNvPr id="6" name="직사각형 5"/>
          <p:cNvSpPr/>
          <p:nvPr/>
        </p:nvSpPr>
        <p:spPr>
          <a:xfrm>
            <a:off x="848544" y="4509120"/>
            <a:ext cx="4608512" cy="1008112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7" name="그룹 6"/>
          <p:cNvGrpSpPr/>
          <p:nvPr/>
        </p:nvGrpSpPr>
        <p:grpSpPr>
          <a:xfrm>
            <a:off x="7368420" y="3403871"/>
            <a:ext cx="2414261" cy="1728192"/>
            <a:chOff x="7165932" y="5451817"/>
            <a:chExt cx="2460790" cy="512107"/>
          </a:xfrm>
        </p:grpSpPr>
        <p:sp>
          <p:nvSpPr>
            <p:cNvPr id="17" name="Rectangle 79"/>
            <p:cNvSpPr/>
            <p:nvPr/>
          </p:nvSpPr>
          <p:spPr>
            <a:xfrm>
              <a:off x="7165932" y="5451817"/>
              <a:ext cx="2460790" cy="512107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lIns="36000" rIns="36000"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18" name="Rectangle 29"/>
            <p:cNvSpPr txBox="1"/>
            <p:nvPr/>
          </p:nvSpPr>
          <p:spPr>
            <a:xfrm>
              <a:off x="7201500" y="5451817"/>
              <a:ext cx="2381409" cy="1938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9pPr>
            </a:lstStyle>
            <a:p>
              <a:pPr lvl="1" fontAlgn="base" latinLnBrk="0">
                <a:lnSpc>
                  <a:spcPts val="17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ko-KR" altLang="en-US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고객의 관심 </a:t>
              </a:r>
              <a:r>
                <a:rPr lang="ko-KR" altLang="en-US" sz="1200" b="1" u="sng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카테고리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 추천 </a:t>
              </a:r>
              <a:r>
                <a:rPr lang="en-US" altLang="ko-KR" sz="1200" dirty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/>
              </a:r>
              <a:br>
                <a:rPr lang="en-US" altLang="ko-KR" sz="1200" dirty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</a:br>
              <a:r>
                <a:rPr lang="ko-KR" altLang="en-US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→ </a:t>
              </a:r>
              <a:r>
                <a:rPr lang="ko-KR" altLang="en-US" sz="1200" dirty="0" err="1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제목內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 </a:t>
              </a:r>
              <a:r>
                <a:rPr lang="ko-KR" altLang="en-US" sz="1200" dirty="0" err="1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카테고리名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 가변화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/>
              </a:r>
              <a:br>
                <a:rPr lang="en-US" altLang="ko-KR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</a:br>
              <a:r>
                <a:rPr lang="ko-KR" altLang="en-US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→ 해당 카테고리 추천상품 제안</a:t>
              </a:r>
              <a:endParaRPr lang="en-US" altLang="ko-KR" sz="1200" dirty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3546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4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6" name="제목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ko-KR" altLang="en-US" sz="2000" dirty="0" smtClean="0"/>
              <a:t>개인화 </a:t>
            </a:r>
            <a:r>
              <a:rPr lang="en-US" altLang="ko-KR" sz="2000" dirty="0" smtClean="0"/>
              <a:t>Offering </a:t>
            </a:r>
            <a:r>
              <a:rPr lang="ko-KR" altLang="en-US" sz="2000" dirty="0" err="1" smtClean="0"/>
              <a:t>큐레이션</a:t>
            </a:r>
            <a:r>
              <a:rPr lang="ko-KR" altLang="en-US" sz="2000" dirty="0" smtClean="0"/>
              <a:t> </a:t>
            </a:r>
            <a:r>
              <a:rPr lang="en-US" altLang="ko-KR" sz="2000" dirty="0" smtClean="0"/>
              <a:t>(1/9)</a:t>
            </a:r>
            <a:endParaRPr lang="ko-KR" altLang="en-US" sz="2000" dirty="0"/>
          </a:p>
        </p:txBody>
      </p:sp>
      <p:graphicFrame>
        <p:nvGraphicFramePr>
          <p:cNvPr id="11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8875442"/>
              </p:ext>
            </p:extLst>
          </p:nvPr>
        </p:nvGraphicFramePr>
        <p:xfrm>
          <a:off x="200472" y="1024255"/>
          <a:ext cx="9500741" cy="1252616"/>
        </p:xfrm>
        <a:graphic>
          <a:graphicData uri="http://schemas.openxmlformats.org/drawingml/2006/table">
            <a:tbl>
              <a:tblPr/>
              <a:tblGrid>
                <a:gridCol w="1080120"/>
                <a:gridCol w="2537536"/>
                <a:gridCol w="962675"/>
                <a:gridCol w="1244110"/>
                <a:gridCol w="1430974"/>
                <a:gridCol w="2245326"/>
              </a:tblGrid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천 페이지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메인페이지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로그인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Y</a:t>
                      </a: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천 채널 </a:t>
                      </a: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 </a:t>
                      </a: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코너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Web /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메인페이지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최하단</a:t>
                      </a: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상황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메인화면에서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로그인을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하고나서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처음으로 보여지는 메인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Context Catch</a:t>
                      </a:r>
                      <a:endParaRPr kumimoji="1" lang="ko-KR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천 전략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latin typeface="+mn-ea"/>
                        </a:rPr>
                        <a:t>-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048" y="2473487"/>
            <a:ext cx="6706578" cy="313885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8" name="AutoShape 11"/>
          <p:cNvSpPr>
            <a:spLocks noChangeArrowheads="1"/>
          </p:cNvSpPr>
          <p:nvPr/>
        </p:nvSpPr>
        <p:spPr bwMode="gray">
          <a:xfrm>
            <a:off x="7116751" y="2448176"/>
            <a:ext cx="1103652" cy="21544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b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추천</a:t>
            </a:r>
            <a:r>
              <a:rPr lang="en-US" altLang="zh-CN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 </a:t>
            </a:r>
            <a:r>
              <a:rPr lang="ko-KR" altLang="en-US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영역 名</a:t>
            </a:r>
            <a:endParaRPr lang="zh-CN" altLang="en-US" sz="1400" b="1" dirty="0">
              <a:solidFill>
                <a:srgbClr val="002960"/>
              </a:solidFill>
              <a:latin typeface="아리따-돋움(TTF)-Medium" panose="02020603020101020101" pitchFamily="18" charset="-127"/>
              <a:cs typeface="Arial" charset="0"/>
            </a:endParaRPr>
          </a:p>
        </p:txBody>
      </p:sp>
      <p:sp>
        <p:nvSpPr>
          <p:cNvPr id="10" name="Rectangle 29"/>
          <p:cNvSpPr txBox="1"/>
          <p:nvPr/>
        </p:nvSpPr>
        <p:spPr>
          <a:xfrm>
            <a:off x="7076156" y="2729524"/>
            <a:ext cx="28815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kumimoji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kumimoji="1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kumimoji="1"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kumimoji="1"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9pPr>
          </a:lstStyle>
          <a:p>
            <a:pPr lvl="1" fontAlgn="base" latinLnBrk="0">
              <a:spcAft>
                <a:spcPct val="0"/>
              </a:spcAft>
              <a:buClr>
                <a:srgbClr val="002960"/>
              </a:buClr>
            </a:pPr>
            <a:r>
              <a:rPr lang="en-US" altLang="ko-KR" sz="1400" dirty="0" smtClean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Recommendations for You “</a:t>
            </a:r>
            <a:r>
              <a:rPr lang="en-US" altLang="ko-KR" sz="1400" b="1" u="sng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RAN”</a:t>
            </a:r>
          </a:p>
        </p:txBody>
      </p:sp>
      <p:grpSp>
        <p:nvGrpSpPr>
          <p:cNvPr id="12" name="그룹 11"/>
          <p:cNvGrpSpPr/>
          <p:nvPr/>
        </p:nvGrpSpPr>
        <p:grpSpPr>
          <a:xfrm>
            <a:off x="7084394" y="3284984"/>
            <a:ext cx="2414261" cy="1728192"/>
            <a:chOff x="7165932" y="5451817"/>
            <a:chExt cx="2460790" cy="512107"/>
          </a:xfrm>
        </p:grpSpPr>
        <p:sp>
          <p:nvSpPr>
            <p:cNvPr id="13" name="Rectangle 79"/>
            <p:cNvSpPr/>
            <p:nvPr/>
          </p:nvSpPr>
          <p:spPr>
            <a:xfrm>
              <a:off x="7165932" y="5451817"/>
              <a:ext cx="2460790" cy="512107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lIns="36000" rIns="36000"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14" name="Rectangle 29"/>
            <p:cNvSpPr txBox="1"/>
            <p:nvPr/>
          </p:nvSpPr>
          <p:spPr>
            <a:xfrm>
              <a:off x="7201500" y="5451817"/>
              <a:ext cx="2381409" cy="1938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9pPr>
            </a:lstStyle>
            <a:p>
              <a:pPr lvl="1" fontAlgn="base" latinLnBrk="0">
                <a:lnSpc>
                  <a:spcPts val="17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ko-KR" altLang="en-US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개인 맞춤 추천 </a:t>
              </a:r>
              <a:r>
                <a:rPr lang="en-US" altLang="ko-KR" sz="1200" dirty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/>
              </a:r>
              <a:br>
                <a:rPr lang="en-US" altLang="ko-KR" sz="1200" dirty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</a:br>
              <a:r>
                <a:rPr lang="ko-KR" altLang="en-US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→ </a:t>
              </a:r>
              <a:r>
                <a:rPr lang="ko-KR" altLang="en-US" sz="1200" dirty="0" err="1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제목內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 고객이름 가변화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/>
              </a:r>
              <a:br>
                <a:rPr lang="en-US" altLang="ko-KR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</a:br>
              <a:r>
                <a:rPr lang="ko-KR" altLang="en-US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→ 개인별 추천상품 제안</a:t>
              </a:r>
              <a:endParaRPr lang="en-US" altLang="ko-KR" sz="1200" dirty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endParaRPr>
            </a:p>
          </p:txBody>
        </p:sp>
      </p:grpSp>
      <p:sp>
        <p:nvSpPr>
          <p:cNvPr id="15" name="직사각형 14"/>
          <p:cNvSpPr/>
          <p:nvPr/>
        </p:nvSpPr>
        <p:spPr>
          <a:xfrm>
            <a:off x="262840" y="3789040"/>
            <a:ext cx="6634376" cy="1656184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77322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5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3" name="AutoShape 11"/>
          <p:cNvSpPr>
            <a:spLocks noChangeArrowheads="1"/>
          </p:cNvSpPr>
          <p:nvPr/>
        </p:nvSpPr>
        <p:spPr bwMode="gray">
          <a:xfrm>
            <a:off x="3940903" y="3157231"/>
            <a:ext cx="2008563" cy="369332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b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2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cs typeface="Arial" charset="0"/>
              </a:rPr>
              <a:t>제품상</a:t>
            </a:r>
            <a:r>
              <a:rPr lang="ko-KR" altLang="en-US" sz="2400" b="1" dirty="0">
                <a:solidFill>
                  <a:srgbClr val="002960"/>
                </a:solidFill>
                <a:latin typeface="아리따-돋움(TTF)-Medium" panose="02020603020101020101" pitchFamily="18" charset="-127"/>
                <a:cs typeface="Arial" charset="0"/>
              </a:rPr>
              <a:t>세</a:t>
            </a:r>
            <a:r>
              <a:rPr lang="en-US" altLang="ko-KR" sz="2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cs typeface="Arial" charset="0"/>
              </a:rPr>
              <a:t>(Web)</a:t>
            </a:r>
            <a:endParaRPr lang="zh-CN" altLang="en-US" sz="2400" b="1" dirty="0">
              <a:solidFill>
                <a:srgbClr val="002960"/>
              </a:solidFill>
              <a:latin typeface="아리따-돋움(TTF)-Medium" panose="02020603020101020101" pitchFamily="18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480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6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6" name="제목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ko-KR" altLang="en-US" sz="2000" dirty="0" smtClean="0"/>
              <a:t>개인화 </a:t>
            </a:r>
            <a:r>
              <a:rPr lang="en-US" altLang="ko-KR" sz="2000" dirty="0" smtClean="0"/>
              <a:t>Offering </a:t>
            </a:r>
            <a:r>
              <a:rPr lang="ko-KR" altLang="en-US" sz="2000" dirty="0" err="1" smtClean="0"/>
              <a:t>큐레이션</a:t>
            </a:r>
            <a:r>
              <a:rPr lang="ko-KR" altLang="en-US" sz="2000" dirty="0" smtClean="0"/>
              <a:t> </a:t>
            </a:r>
            <a:r>
              <a:rPr lang="en-US" altLang="ko-KR" sz="2000" dirty="0" smtClean="0"/>
              <a:t>(1/9)</a:t>
            </a:r>
            <a:endParaRPr lang="ko-KR" altLang="en-US" sz="2000" dirty="0"/>
          </a:p>
        </p:txBody>
      </p:sp>
      <p:graphicFrame>
        <p:nvGraphicFramePr>
          <p:cNvPr id="11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8466113"/>
              </p:ext>
            </p:extLst>
          </p:nvPr>
        </p:nvGraphicFramePr>
        <p:xfrm>
          <a:off x="200472" y="1024255"/>
          <a:ext cx="9500741" cy="1252616"/>
        </p:xfrm>
        <a:graphic>
          <a:graphicData uri="http://schemas.openxmlformats.org/drawingml/2006/table">
            <a:tbl>
              <a:tblPr/>
              <a:tblGrid>
                <a:gridCol w="1080120"/>
                <a:gridCol w="2537536"/>
                <a:gridCol w="962675"/>
                <a:gridCol w="1244110"/>
                <a:gridCol w="1430974"/>
                <a:gridCol w="2245326"/>
              </a:tblGrid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천 페이지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상품상세 페이지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로그인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Y</a:t>
                      </a: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천 채널 </a:t>
                      </a: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 </a:t>
                      </a: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코너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Web /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상품상세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–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중간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상황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특정 상품 상세 페이지 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Context Catch</a:t>
                      </a:r>
                      <a:endParaRPr kumimoji="1" lang="ko-KR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천 전략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latin typeface="+mn-ea"/>
                        </a:rPr>
                        <a:t>-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AutoShape 11"/>
          <p:cNvSpPr>
            <a:spLocks noChangeArrowheads="1"/>
          </p:cNvSpPr>
          <p:nvPr/>
        </p:nvSpPr>
        <p:spPr bwMode="gray">
          <a:xfrm>
            <a:off x="5719963" y="2448176"/>
            <a:ext cx="1103652" cy="21544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b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추천</a:t>
            </a:r>
            <a:r>
              <a:rPr lang="en-US" altLang="zh-CN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 </a:t>
            </a:r>
            <a:r>
              <a:rPr lang="ko-KR" altLang="en-US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영역 名</a:t>
            </a:r>
            <a:endParaRPr lang="zh-CN" altLang="en-US" sz="1400" b="1" dirty="0">
              <a:solidFill>
                <a:srgbClr val="002960"/>
              </a:solidFill>
              <a:latin typeface="아리따-돋움(TTF)-Medium" panose="02020603020101020101" pitchFamily="18" charset="-127"/>
              <a:cs typeface="Arial" charset="0"/>
            </a:endParaRPr>
          </a:p>
        </p:txBody>
      </p:sp>
      <p:sp>
        <p:nvSpPr>
          <p:cNvPr id="10" name="Rectangle 29"/>
          <p:cNvSpPr txBox="1"/>
          <p:nvPr/>
        </p:nvSpPr>
        <p:spPr>
          <a:xfrm>
            <a:off x="5679368" y="2729524"/>
            <a:ext cx="288150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kumimoji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kumimoji="1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kumimoji="1"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kumimoji="1"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9pPr>
          </a:lstStyle>
          <a:p>
            <a:pPr lvl="1" fontAlgn="base" latinLnBrk="0">
              <a:spcAft>
                <a:spcPct val="0"/>
              </a:spcAft>
              <a:buClr>
                <a:srgbClr val="002960"/>
              </a:buClr>
            </a:pPr>
            <a:r>
              <a:rPr lang="en-US" altLang="ko-KR" sz="1400" dirty="0" err="1" smtClean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Frequntly</a:t>
            </a:r>
            <a:r>
              <a:rPr lang="en-US" altLang="ko-KR" sz="1400" dirty="0" smtClean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 bought </a:t>
            </a:r>
            <a:r>
              <a:rPr lang="en-US" altLang="ko-KR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together</a:t>
            </a:r>
            <a:endParaRPr lang="en-US" altLang="ko-KR" sz="1400" b="1" u="sng" dirty="0" smtClean="0">
              <a:solidFill>
                <a:schemeClr val="tx2">
                  <a:lumMod val="60000"/>
                  <a:lumOff val="40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Wingdings" panose="05000000000000000000" pitchFamily="2" charset="2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5687606" y="3284984"/>
            <a:ext cx="2414261" cy="1728192"/>
            <a:chOff x="7165932" y="5451817"/>
            <a:chExt cx="2460790" cy="512107"/>
          </a:xfrm>
        </p:grpSpPr>
        <p:sp>
          <p:nvSpPr>
            <p:cNvPr id="13" name="Rectangle 79"/>
            <p:cNvSpPr/>
            <p:nvPr/>
          </p:nvSpPr>
          <p:spPr>
            <a:xfrm>
              <a:off x="7165932" y="5451817"/>
              <a:ext cx="2460790" cy="512107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lIns="36000" rIns="36000"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14" name="Rectangle 29"/>
            <p:cNvSpPr txBox="1"/>
            <p:nvPr/>
          </p:nvSpPr>
          <p:spPr>
            <a:xfrm>
              <a:off x="7201500" y="5451817"/>
              <a:ext cx="2381409" cy="1292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9pPr>
            </a:lstStyle>
            <a:p>
              <a:pPr lvl="1" fontAlgn="base" latinLnBrk="0">
                <a:lnSpc>
                  <a:spcPts val="17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ko-KR" altLang="en-US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함께 구매하는  연관상품 추천 </a:t>
              </a:r>
              <a:r>
                <a:rPr lang="en-US" altLang="ko-KR" sz="1200" dirty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/>
              </a:r>
              <a:br>
                <a:rPr lang="en-US" altLang="ko-KR" sz="1200" dirty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</a:br>
              <a:r>
                <a:rPr lang="ko-KR" altLang="en-US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→ 상품 상세 페이지 상품 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+ </a:t>
              </a:r>
              <a:r>
                <a:rPr lang="el-GR" altLang="ko-KR" sz="1600" b="1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OTF)-Medium"/>
                  <a:sym typeface="Wingdings" panose="05000000000000000000" pitchFamily="2" charset="2"/>
                </a:rPr>
                <a:t>α</a:t>
              </a:r>
              <a:endParaRPr lang="en-US" altLang="ko-KR" sz="1200" b="1" dirty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endParaRPr>
            </a:p>
          </p:txBody>
        </p:sp>
      </p:grp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480" y="2448176"/>
            <a:ext cx="4197688" cy="388399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5" name="직사각형 14"/>
          <p:cNvSpPr/>
          <p:nvPr/>
        </p:nvSpPr>
        <p:spPr>
          <a:xfrm>
            <a:off x="295060" y="5661248"/>
            <a:ext cx="2713724" cy="629736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96407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743" y="2348880"/>
            <a:ext cx="5891338" cy="403244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7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6" name="제목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ko-KR" altLang="en-US" sz="2000" dirty="0" smtClean="0"/>
              <a:t>개인화 </a:t>
            </a:r>
            <a:r>
              <a:rPr lang="en-US" altLang="ko-KR" sz="2000" dirty="0" smtClean="0"/>
              <a:t>Offering </a:t>
            </a:r>
            <a:r>
              <a:rPr lang="ko-KR" altLang="en-US" sz="2000" dirty="0" err="1" smtClean="0"/>
              <a:t>큐레이션</a:t>
            </a:r>
            <a:r>
              <a:rPr lang="ko-KR" altLang="en-US" sz="2000" dirty="0" smtClean="0"/>
              <a:t> </a:t>
            </a:r>
            <a:r>
              <a:rPr lang="en-US" altLang="ko-KR" sz="2000" dirty="0" smtClean="0"/>
              <a:t>(1/9)</a:t>
            </a:r>
            <a:endParaRPr lang="ko-KR" altLang="en-US" sz="2000" dirty="0"/>
          </a:p>
        </p:txBody>
      </p:sp>
      <p:graphicFrame>
        <p:nvGraphicFramePr>
          <p:cNvPr id="11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1275433"/>
              </p:ext>
            </p:extLst>
          </p:nvPr>
        </p:nvGraphicFramePr>
        <p:xfrm>
          <a:off x="200472" y="1024255"/>
          <a:ext cx="9500741" cy="1252616"/>
        </p:xfrm>
        <a:graphic>
          <a:graphicData uri="http://schemas.openxmlformats.org/drawingml/2006/table">
            <a:tbl>
              <a:tblPr/>
              <a:tblGrid>
                <a:gridCol w="1080120"/>
                <a:gridCol w="2537536"/>
                <a:gridCol w="962675"/>
                <a:gridCol w="1244110"/>
                <a:gridCol w="1430974"/>
                <a:gridCol w="2245326"/>
              </a:tblGrid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천 페이지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상품상세 페이지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로그인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Y</a:t>
                      </a: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천 채널 </a:t>
                      </a: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 </a:t>
                      </a: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코너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Web /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상품상세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–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중간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상황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특정 상품 상세 페이지 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Context Catch</a:t>
                      </a:r>
                      <a:endParaRPr kumimoji="1" lang="ko-KR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천 전략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latin typeface="+mn-ea"/>
                        </a:rPr>
                        <a:t>-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AutoShape 11"/>
          <p:cNvSpPr>
            <a:spLocks noChangeArrowheads="1"/>
          </p:cNvSpPr>
          <p:nvPr/>
        </p:nvSpPr>
        <p:spPr bwMode="gray">
          <a:xfrm>
            <a:off x="6319018" y="2448176"/>
            <a:ext cx="1103652" cy="21544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b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추천</a:t>
            </a:r>
            <a:r>
              <a:rPr lang="en-US" altLang="zh-CN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 </a:t>
            </a:r>
            <a:r>
              <a:rPr lang="ko-KR" altLang="en-US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영역 名</a:t>
            </a:r>
            <a:endParaRPr lang="zh-CN" altLang="en-US" sz="1400" b="1" dirty="0">
              <a:solidFill>
                <a:srgbClr val="002960"/>
              </a:solidFill>
              <a:latin typeface="아리따-돋움(TTF)-Medium" panose="02020603020101020101" pitchFamily="18" charset="-127"/>
              <a:cs typeface="Arial" charset="0"/>
            </a:endParaRPr>
          </a:p>
        </p:txBody>
      </p:sp>
      <p:sp>
        <p:nvSpPr>
          <p:cNvPr id="10" name="Rectangle 29"/>
          <p:cNvSpPr txBox="1"/>
          <p:nvPr/>
        </p:nvSpPr>
        <p:spPr>
          <a:xfrm>
            <a:off x="6278423" y="2729524"/>
            <a:ext cx="355343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kumimoji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kumimoji="1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kumimoji="1"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kumimoji="1"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9pPr>
          </a:lstStyle>
          <a:p>
            <a:pPr lvl="1" fontAlgn="base" latinLnBrk="0">
              <a:spcAft>
                <a:spcPct val="0"/>
              </a:spcAft>
              <a:buClr>
                <a:srgbClr val="002960"/>
              </a:buClr>
            </a:pPr>
            <a:r>
              <a:rPr lang="en-US" altLang="ko-KR" sz="1400" dirty="0" smtClean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Customers who </a:t>
            </a:r>
            <a:r>
              <a:rPr lang="en-US" altLang="ko-KR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bought</a:t>
            </a:r>
            <a:r>
              <a:rPr lang="en-US" altLang="ko-KR" sz="1400" dirty="0" smtClean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 this item also </a:t>
            </a:r>
            <a:r>
              <a:rPr lang="en-US" altLang="ko-KR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bought</a:t>
            </a:r>
            <a:endParaRPr lang="en-US" altLang="ko-KR" sz="1400" b="1" u="sng" dirty="0" smtClean="0">
              <a:solidFill>
                <a:schemeClr val="tx2">
                  <a:lumMod val="60000"/>
                  <a:lumOff val="40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Wingdings" panose="05000000000000000000" pitchFamily="2" charset="2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6286661" y="3069621"/>
            <a:ext cx="3418867" cy="576064"/>
            <a:chOff x="7165932" y="5451817"/>
            <a:chExt cx="2460790" cy="512107"/>
          </a:xfrm>
        </p:grpSpPr>
        <p:sp>
          <p:nvSpPr>
            <p:cNvPr id="13" name="Rectangle 79"/>
            <p:cNvSpPr/>
            <p:nvPr/>
          </p:nvSpPr>
          <p:spPr>
            <a:xfrm>
              <a:off x="7165932" y="5451817"/>
              <a:ext cx="2460790" cy="512107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lIns="36000" rIns="36000"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14" name="Rectangle 29"/>
            <p:cNvSpPr txBox="1"/>
            <p:nvPr/>
          </p:nvSpPr>
          <p:spPr>
            <a:xfrm>
              <a:off x="7201500" y="5451817"/>
              <a:ext cx="2381409" cy="3876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9pPr>
            </a:lstStyle>
            <a:p>
              <a:pPr lvl="1" fontAlgn="base" latinLnBrk="0">
                <a:lnSpc>
                  <a:spcPts val="17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ko-KR" altLang="en-US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상세페이지 해당 상품 구매하는  고객들이 구매하는 상품 추천 </a:t>
              </a:r>
              <a:endParaRPr lang="en-US" altLang="ko-KR" sz="1200" b="1" dirty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endParaRPr>
            </a:p>
          </p:txBody>
        </p:sp>
      </p:grpSp>
      <p:sp>
        <p:nvSpPr>
          <p:cNvPr id="15" name="직사각형 14"/>
          <p:cNvSpPr/>
          <p:nvPr/>
        </p:nvSpPr>
        <p:spPr>
          <a:xfrm>
            <a:off x="295060" y="2348880"/>
            <a:ext cx="5810068" cy="1971052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AutoShape 11"/>
          <p:cNvSpPr>
            <a:spLocks noChangeArrowheads="1"/>
          </p:cNvSpPr>
          <p:nvPr/>
        </p:nvSpPr>
        <p:spPr bwMode="gray">
          <a:xfrm>
            <a:off x="6319018" y="4554767"/>
            <a:ext cx="1103652" cy="21544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b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추천</a:t>
            </a:r>
            <a:r>
              <a:rPr lang="en-US" altLang="zh-CN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 </a:t>
            </a:r>
            <a:r>
              <a:rPr lang="ko-KR" altLang="en-US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영역 名</a:t>
            </a:r>
            <a:endParaRPr lang="zh-CN" altLang="en-US" sz="1400" b="1" dirty="0">
              <a:solidFill>
                <a:srgbClr val="002960"/>
              </a:solidFill>
              <a:latin typeface="아리따-돋움(TTF)-Medium" panose="02020603020101020101" pitchFamily="18" charset="-127"/>
              <a:cs typeface="Arial" charset="0"/>
            </a:endParaRPr>
          </a:p>
        </p:txBody>
      </p:sp>
      <p:sp>
        <p:nvSpPr>
          <p:cNvPr id="18" name="Rectangle 29"/>
          <p:cNvSpPr txBox="1"/>
          <p:nvPr/>
        </p:nvSpPr>
        <p:spPr>
          <a:xfrm>
            <a:off x="6278423" y="4836115"/>
            <a:ext cx="355343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kumimoji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kumimoji="1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kumimoji="1"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kumimoji="1"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9pPr>
          </a:lstStyle>
          <a:p>
            <a:pPr lvl="1" fontAlgn="base" latinLnBrk="0">
              <a:spcAft>
                <a:spcPct val="0"/>
              </a:spcAft>
              <a:buClr>
                <a:srgbClr val="002960"/>
              </a:buClr>
            </a:pPr>
            <a:r>
              <a:rPr lang="en-US" altLang="ko-KR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Sponsored</a:t>
            </a:r>
            <a:r>
              <a:rPr lang="en-US" altLang="ko-KR" sz="1400" dirty="0" smtClean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 products related to this item</a:t>
            </a:r>
            <a:endParaRPr lang="en-US" altLang="ko-KR" sz="1400" b="1" u="sng" dirty="0" smtClean="0">
              <a:solidFill>
                <a:schemeClr val="tx2">
                  <a:lumMod val="60000"/>
                  <a:lumOff val="40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Wingdings" panose="05000000000000000000" pitchFamily="2" charset="2"/>
            </a:endParaRPr>
          </a:p>
        </p:txBody>
      </p:sp>
      <p:grpSp>
        <p:nvGrpSpPr>
          <p:cNvPr id="19" name="그룹 18"/>
          <p:cNvGrpSpPr/>
          <p:nvPr/>
        </p:nvGrpSpPr>
        <p:grpSpPr>
          <a:xfrm>
            <a:off x="6286661" y="5176212"/>
            <a:ext cx="3418867" cy="576064"/>
            <a:chOff x="7165932" y="5451817"/>
            <a:chExt cx="2460790" cy="512107"/>
          </a:xfrm>
        </p:grpSpPr>
        <p:sp>
          <p:nvSpPr>
            <p:cNvPr id="20" name="Rectangle 79"/>
            <p:cNvSpPr/>
            <p:nvPr/>
          </p:nvSpPr>
          <p:spPr>
            <a:xfrm>
              <a:off x="7165932" y="5451817"/>
              <a:ext cx="2460790" cy="512107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lIns="36000" rIns="36000"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21" name="Rectangle 29"/>
            <p:cNvSpPr txBox="1"/>
            <p:nvPr/>
          </p:nvSpPr>
          <p:spPr>
            <a:xfrm>
              <a:off x="7201500" y="5451817"/>
              <a:ext cx="2381409" cy="1938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9pPr>
            </a:lstStyle>
            <a:p>
              <a:pPr lvl="1" fontAlgn="base" latinLnBrk="0">
                <a:lnSpc>
                  <a:spcPts val="17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ko-KR" altLang="en-US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상세페이지 해당 상품과 관련된 광고상품</a:t>
              </a:r>
              <a:endParaRPr lang="en-US" altLang="ko-KR" sz="1200" b="1" dirty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6408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496" y="2339078"/>
            <a:ext cx="4981580" cy="415048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8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6" name="제목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0472" y="47667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ko-KR" altLang="en-US" sz="2000" dirty="0" smtClean="0"/>
              <a:t>개인화 </a:t>
            </a:r>
            <a:r>
              <a:rPr lang="en-US" altLang="ko-KR" sz="2000" dirty="0" smtClean="0"/>
              <a:t>Offering </a:t>
            </a:r>
            <a:r>
              <a:rPr lang="ko-KR" altLang="en-US" sz="2000" dirty="0" err="1" smtClean="0"/>
              <a:t>큐레이션</a:t>
            </a:r>
            <a:r>
              <a:rPr lang="ko-KR" altLang="en-US" sz="2000" dirty="0" smtClean="0"/>
              <a:t> </a:t>
            </a:r>
            <a:r>
              <a:rPr lang="en-US" altLang="ko-KR" sz="2000" dirty="0" smtClean="0"/>
              <a:t>(1/9)</a:t>
            </a:r>
            <a:endParaRPr lang="ko-KR" altLang="en-US" sz="2000" dirty="0"/>
          </a:p>
        </p:txBody>
      </p:sp>
      <p:graphicFrame>
        <p:nvGraphicFramePr>
          <p:cNvPr id="11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4038490"/>
              </p:ext>
            </p:extLst>
          </p:nvPr>
        </p:nvGraphicFramePr>
        <p:xfrm>
          <a:off x="200472" y="1024255"/>
          <a:ext cx="9500741" cy="1252616"/>
        </p:xfrm>
        <a:graphic>
          <a:graphicData uri="http://schemas.openxmlformats.org/drawingml/2006/table">
            <a:tbl>
              <a:tblPr/>
              <a:tblGrid>
                <a:gridCol w="1080120"/>
                <a:gridCol w="2537536"/>
                <a:gridCol w="962675"/>
                <a:gridCol w="1244110"/>
                <a:gridCol w="1430974"/>
                <a:gridCol w="2245326"/>
              </a:tblGrid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천 페이지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상품상세 페이지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로그인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Y</a:t>
                      </a: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천 채널 </a:t>
                      </a: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 </a:t>
                      </a: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코너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Web /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상품상세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–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하단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상황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특정 상품 상세 페이지 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Context Catch</a:t>
                      </a:r>
                      <a:endParaRPr kumimoji="1" lang="ko-KR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13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천 전략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latin typeface="+mn-ea"/>
                        </a:rPr>
                        <a:t>-</a:t>
                      </a:r>
                    </a:p>
                  </a:txBody>
                  <a:tcPr marL="91439" marR="91439" marT="39909" marB="39909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AutoShape 11"/>
          <p:cNvSpPr>
            <a:spLocks noChangeArrowheads="1"/>
          </p:cNvSpPr>
          <p:nvPr/>
        </p:nvSpPr>
        <p:spPr bwMode="gray">
          <a:xfrm>
            <a:off x="5601072" y="2448176"/>
            <a:ext cx="1103652" cy="21544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b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추천</a:t>
            </a:r>
            <a:r>
              <a:rPr lang="en-US" altLang="zh-CN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 </a:t>
            </a:r>
            <a:r>
              <a:rPr lang="ko-KR" altLang="en-US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영역 名</a:t>
            </a:r>
            <a:endParaRPr lang="zh-CN" altLang="en-US" sz="1400" b="1" dirty="0">
              <a:solidFill>
                <a:srgbClr val="002960"/>
              </a:solidFill>
              <a:latin typeface="아리따-돋움(TTF)-Medium" panose="02020603020101020101" pitchFamily="18" charset="-127"/>
              <a:cs typeface="Arial" charset="0"/>
            </a:endParaRPr>
          </a:p>
        </p:txBody>
      </p:sp>
      <p:sp>
        <p:nvSpPr>
          <p:cNvPr id="10" name="Rectangle 29"/>
          <p:cNvSpPr txBox="1"/>
          <p:nvPr/>
        </p:nvSpPr>
        <p:spPr>
          <a:xfrm>
            <a:off x="5560477" y="2729524"/>
            <a:ext cx="355343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kumimoji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kumimoji="1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kumimoji="1"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kumimoji="1"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9pPr>
          </a:lstStyle>
          <a:p>
            <a:pPr lvl="1" fontAlgn="base" latinLnBrk="0">
              <a:spcAft>
                <a:spcPct val="0"/>
              </a:spcAft>
              <a:buClr>
                <a:srgbClr val="002960"/>
              </a:buClr>
            </a:pPr>
            <a:r>
              <a:rPr lang="en-US" altLang="ko-KR" sz="1400" dirty="0" smtClean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Customers who </a:t>
            </a:r>
            <a:r>
              <a:rPr lang="en-US" altLang="ko-KR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viewed</a:t>
            </a:r>
            <a:r>
              <a:rPr lang="en-US" altLang="ko-KR" sz="1400" dirty="0" smtClean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 this item also </a:t>
            </a:r>
            <a:r>
              <a:rPr lang="en-US" altLang="ko-KR" sz="1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viewed</a:t>
            </a:r>
            <a:endParaRPr lang="en-US" altLang="ko-KR" sz="1400" b="1" u="sng" dirty="0" smtClean="0">
              <a:solidFill>
                <a:schemeClr val="tx2">
                  <a:lumMod val="60000"/>
                  <a:lumOff val="40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Wingdings" panose="05000000000000000000" pitchFamily="2" charset="2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5568715" y="3069621"/>
            <a:ext cx="3418867" cy="576064"/>
            <a:chOff x="7165932" y="5451817"/>
            <a:chExt cx="2460790" cy="512107"/>
          </a:xfrm>
        </p:grpSpPr>
        <p:sp>
          <p:nvSpPr>
            <p:cNvPr id="13" name="Rectangle 79"/>
            <p:cNvSpPr/>
            <p:nvPr/>
          </p:nvSpPr>
          <p:spPr>
            <a:xfrm>
              <a:off x="7165932" y="5451817"/>
              <a:ext cx="2460790" cy="512107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lIns="36000" rIns="36000"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14" name="Rectangle 29"/>
            <p:cNvSpPr txBox="1"/>
            <p:nvPr/>
          </p:nvSpPr>
          <p:spPr>
            <a:xfrm>
              <a:off x="7201500" y="5451817"/>
              <a:ext cx="2381409" cy="3876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9pPr>
            </a:lstStyle>
            <a:p>
              <a:pPr lvl="1" fontAlgn="base" latinLnBrk="0">
                <a:lnSpc>
                  <a:spcPts val="17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ko-KR" altLang="en-US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상세페이지 해당 상품 조</a:t>
              </a:r>
              <a:r>
                <a:rPr lang="ko-KR" altLang="en-US" sz="1200" dirty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회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하는  고객들이 조회하는 상품 추천 </a:t>
              </a:r>
              <a:endParaRPr lang="en-US" altLang="ko-KR" sz="1200" b="1" dirty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endParaRPr>
            </a:p>
          </p:txBody>
        </p:sp>
      </p:grpSp>
      <p:sp>
        <p:nvSpPr>
          <p:cNvPr id="15" name="직사각형 14"/>
          <p:cNvSpPr/>
          <p:nvPr/>
        </p:nvSpPr>
        <p:spPr>
          <a:xfrm>
            <a:off x="416496" y="2348880"/>
            <a:ext cx="4981580" cy="1800200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AutoShape 11"/>
          <p:cNvSpPr>
            <a:spLocks noChangeArrowheads="1"/>
          </p:cNvSpPr>
          <p:nvPr/>
        </p:nvSpPr>
        <p:spPr bwMode="gray">
          <a:xfrm>
            <a:off x="5601072" y="4276112"/>
            <a:ext cx="1103652" cy="215444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b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추천</a:t>
            </a:r>
            <a:r>
              <a:rPr lang="en-US" altLang="zh-CN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 </a:t>
            </a:r>
            <a:r>
              <a:rPr lang="ko-KR" altLang="en-US" sz="1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charset="0"/>
              </a:rPr>
              <a:t>영역 名</a:t>
            </a:r>
            <a:endParaRPr lang="zh-CN" altLang="en-US" sz="1400" b="1" dirty="0">
              <a:solidFill>
                <a:srgbClr val="002960"/>
              </a:solidFill>
              <a:latin typeface="아리따-돋움(TTF)-Medium" panose="02020603020101020101" pitchFamily="18" charset="-127"/>
              <a:cs typeface="Arial" charset="0"/>
            </a:endParaRPr>
          </a:p>
        </p:txBody>
      </p:sp>
      <p:sp>
        <p:nvSpPr>
          <p:cNvPr id="18" name="Rectangle 29"/>
          <p:cNvSpPr txBox="1"/>
          <p:nvPr/>
        </p:nvSpPr>
        <p:spPr>
          <a:xfrm>
            <a:off x="5560477" y="4557460"/>
            <a:ext cx="421705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kumimoji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kumimoji="1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kumimoji="1"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kumimoji="1"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9pPr>
          </a:lstStyle>
          <a:p>
            <a:pPr lvl="1" fontAlgn="base" latinLnBrk="0">
              <a:spcAft>
                <a:spcPct val="0"/>
              </a:spcAft>
              <a:buClr>
                <a:srgbClr val="002960"/>
              </a:buClr>
            </a:pPr>
            <a:r>
              <a:rPr lang="en-US" altLang="ko-KR" sz="1400" dirty="0" smtClean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Your </a:t>
            </a:r>
            <a:r>
              <a:rPr lang="en-US" altLang="ko-KR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recently viewed</a:t>
            </a:r>
            <a:r>
              <a:rPr lang="en-US" altLang="ko-KR" sz="1400" dirty="0" smtClean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 items and featured recommendations</a:t>
            </a:r>
            <a:endParaRPr lang="en-US" altLang="ko-KR" sz="1400" b="1" u="sng" dirty="0" smtClean="0">
              <a:solidFill>
                <a:schemeClr val="tx2">
                  <a:lumMod val="60000"/>
                  <a:lumOff val="40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Wingdings" panose="05000000000000000000" pitchFamily="2" charset="2"/>
            </a:endParaRPr>
          </a:p>
        </p:txBody>
      </p:sp>
      <p:grpSp>
        <p:nvGrpSpPr>
          <p:cNvPr id="19" name="그룹 18"/>
          <p:cNvGrpSpPr/>
          <p:nvPr/>
        </p:nvGrpSpPr>
        <p:grpSpPr>
          <a:xfrm>
            <a:off x="5568715" y="5772985"/>
            <a:ext cx="3418867" cy="576064"/>
            <a:chOff x="7165932" y="5451817"/>
            <a:chExt cx="2460790" cy="512107"/>
          </a:xfrm>
        </p:grpSpPr>
        <p:sp>
          <p:nvSpPr>
            <p:cNvPr id="20" name="Rectangle 79"/>
            <p:cNvSpPr/>
            <p:nvPr/>
          </p:nvSpPr>
          <p:spPr>
            <a:xfrm>
              <a:off x="7165932" y="5451817"/>
              <a:ext cx="2460790" cy="512107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lIns="36000" rIns="36000"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21" name="Rectangle 29"/>
            <p:cNvSpPr txBox="1"/>
            <p:nvPr/>
          </p:nvSpPr>
          <p:spPr>
            <a:xfrm>
              <a:off x="7201500" y="5451817"/>
              <a:ext cx="2381409" cy="1767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9pPr>
            </a:lstStyle>
            <a:p>
              <a:pPr lvl="1" fontAlgn="base" latinLnBrk="0">
                <a:lnSpc>
                  <a:spcPts val="17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ko-KR" altLang="en-US" sz="1200" dirty="0" smtClean="0">
                  <a:solidFill>
                    <a:srgbClr val="00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Wingdings" panose="05000000000000000000" pitchFamily="2" charset="2"/>
                </a:rPr>
                <a:t>최근 본 상품</a:t>
              </a:r>
              <a:endParaRPr lang="en-US" altLang="ko-KR" sz="1200" b="1" dirty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endParaRPr>
            </a:p>
          </p:txBody>
        </p:sp>
      </p:grpSp>
      <p:sp>
        <p:nvSpPr>
          <p:cNvPr id="22" name="직사각형 21"/>
          <p:cNvSpPr/>
          <p:nvPr/>
        </p:nvSpPr>
        <p:spPr>
          <a:xfrm>
            <a:off x="416496" y="4276112"/>
            <a:ext cx="4981580" cy="1673168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직사각형 22"/>
          <p:cNvSpPr/>
          <p:nvPr/>
        </p:nvSpPr>
        <p:spPr>
          <a:xfrm>
            <a:off x="416496" y="6021287"/>
            <a:ext cx="4981580" cy="422091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Rectangle 29"/>
          <p:cNvSpPr txBox="1"/>
          <p:nvPr/>
        </p:nvSpPr>
        <p:spPr>
          <a:xfrm>
            <a:off x="5745088" y="5014996"/>
            <a:ext cx="336882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kumimoji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kumimoji="1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kumimoji="1"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kumimoji="1"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9pPr>
          </a:lstStyle>
          <a:p>
            <a:pPr lvl="1" fontAlgn="base" latinLnBrk="0">
              <a:spcAft>
                <a:spcPct val="0"/>
              </a:spcAft>
              <a:buClr>
                <a:srgbClr val="002960"/>
              </a:buClr>
              <a:buFontTx/>
              <a:buChar char="-"/>
            </a:pPr>
            <a:r>
              <a:rPr lang="en-US" altLang="ko-KR" sz="1400" dirty="0" smtClean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Inspired </a:t>
            </a:r>
            <a:r>
              <a:rPr lang="en-US" altLang="ko-KR" sz="1400" dirty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by your purchases</a:t>
            </a:r>
          </a:p>
          <a:p>
            <a:pPr lvl="1" fontAlgn="base" latinLnBrk="0">
              <a:spcAft>
                <a:spcPct val="0"/>
              </a:spcAft>
              <a:buClr>
                <a:srgbClr val="002960"/>
              </a:buClr>
              <a:buFontTx/>
              <a:buChar char="-"/>
            </a:pPr>
            <a:r>
              <a:rPr lang="en-US" altLang="ko-KR" sz="1400" dirty="0" smtClean="0">
                <a:solidFill>
                  <a:srgbClr val="00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You viewed</a:t>
            </a:r>
          </a:p>
          <a:p>
            <a:pPr lvl="1" fontAlgn="base" latinLnBrk="0">
              <a:spcAft>
                <a:spcPct val="0"/>
              </a:spcAft>
              <a:buClr>
                <a:srgbClr val="002960"/>
              </a:buClr>
              <a:buFontTx/>
              <a:buChar char="-"/>
            </a:pPr>
            <a:r>
              <a:rPr lang="en-US" altLang="ko-KR" sz="14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View or edit your browsing history</a:t>
            </a:r>
          </a:p>
        </p:txBody>
      </p:sp>
    </p:spTree>
    <p:extLst>
      <p:ext uri="{BB962C8B-B14F-4D97-AF65-F5344CB8AC3E}">
        <p14:creationId xmlns:p14="http://schemas.microsoft.com/office/powerpoint/2010/main" val="3237864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9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3" name="AutoShape 11"/>
          <p:cNvSpPr>
            <a:spLocks noChangeArrowheads="1"/>
          </p:cNvSpPr>
          <p:nvPr/>
        </p:nvSpPr>
        <p:spPr bwMode="gray">
          <a:xfrm>
            <a:off x="3940903" y="3157231"/>
            <a:ext cx="2008563" cy="369332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  <a:effectLst/>
          <a:extLst/>
        </p:spPr>
        <p:txBody>
          <a:bodyPr wrap="none" lIns="0" tIns="0" rIns="0" bIns="0" anchor="b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2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cs typeface="Arial" charset="0"/>
              </a:rPr>
              <a:t>장바구</a:t>
            </a:r>
            <a:r>
              <a:rPr lang="ko-KR" altLang="en-US" sz="2400" b="1" dirty="0">
                <a:solidFill>
                  <a:srgbClr val="002960"/>
                </a:solidFill>
                <a:latin typeface="아리따-돋움(TTF)-Medium" panose="02020603020101020101" pitchFamily="18" charset="-127"/>
                <a:cs typeface="Arial" charset="0"/>
              </a:rPr>
              <a:t>니</a:t>
            </a:r>
            <a:r>
              <a:rPr lang="en-US" altLang="ko-KR" sz="2400" b="1" dirty="0" smtClean="0">
                <a:solidFill>
                  <a:srgbClr val="002960"/>
                </a:solidFill>
                <a:latin typeface="아리따-돋움(TTF)-Medium" panose="02020603020101020101" pitchFamily="18" charset="-127"/>
                <a:cs typeface="Arial" charset="0"/>
              </a:rPr>
              <a:t>(Web)</a:t>
            </a:r>
            <a:endParaRPr lang="zh-CN" altLang="en-US" sz="2400" b="1" dirty="0">
              <a:solidFill>
                <a:srgbClr val="002960"/>
              </a:solidFill>
              <a:latin typeface="아리따-돋움(TTF)-Medium" panose="02020603020101020101" pitchFamily="18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9368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133</TotalTime>
  <Words>488</Words>
  <Application>Microsoft Office PowerPoint</Application>
  <PresentationFormat>A4 용지(210x297mm)</PresentationFormat>
  <Paragraphs>159</Paragraphs>
  <Slides>21</Slides>
  <Notes>0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21</vt:i4>
      </vt:variant>
    </vt:vector>
  </HeadingPairs>
  <TitlesOfParts>
    <vt:vector size="22" baseType="lpstr"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XP SP3 FINA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snoopy</dc:creator>
  <cp:lastModifiedBy>Windows 사용자</cp:lastModifiedBy>
  <cp:revision>340</cp:revision>
  <cp:lastPrinted>2016-12-30T05:37:59Z</cp:lastPrinted>
  <dcterms:created xsi:type="dcterms:W3CDTF">2012-05-24T05:17:16Z</dcterms:created>
  <dcterms:modified xsi:type="dcterms:W3CDTF">2017-04-14T01:03:20Z</dcterms:modified>
</cp:coreProperties>
</file>